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6" r:id="rId3"/>
    <p:sldId id="257" r:id="rId4"/>
    <p:sldId id="275" r:id="rId5"/>
    <p:sldId id="330" r:id="rId6"/>
    <p:sldId id="331" r:id="rId7"/>
    <p:sldId id="332" r:id="rId8"/>
    <p:sldId id="279" r:id="rId9"/>
    <p:sldId id="350" r:id="rId10"/>
    <p:sldId id="351" r:id="rId11"/>
    <p:sldId id="352" r:id="rId12"/>
    <p:sldId id="353" r:id="rId13"/>
    <p:sldId id="302" r:id="rId1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0274D"/>
    <a:srgbClr val="1A75B4"/>
    <a:srgbClr val="8C8D7B"/>
    <a:srgbClr val="4E5A62"/>
    <a:srgbClr val="1B6194"/>
    <a:srgbClr val="2E254B"/>
    <a:srgbClr val="70AC43"/>
    <a:srgbClr val="C0BC00"/>
    <a:srgbClr val="B7CC3E"/>
    <a:srgbClr val="8C8C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73" autoAdjust="0"/>
    <p:restoredTop sz="94660"/>
  </p:normalViewPr>
  <p:slideViewPr>
    <p:cSldViewPr snapToGrid="0">
      <p:cViewPr varScale="1">
        <p:scale>
          <a:sx n="61" d="100"/>
          <a:sy n="61" d="100"/>
        </p:scale>
        <p:origin x="7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9" Type="http://schemas.openxmlformats.org/officeDocument/2006/relationships/tableStyles" Target="tableStyles.xml"/><Relationship Id="rId18" Type="http://schemas.openxmlformats.org/officeDocument/2006/relationships/viewProps" Target="viewProps.xml"/><Relationship Id="rId17" Type="http://schemas.openxmlformats.org/officeDocument/2006/relationships/presProps" Target="presProps.xml"/><Relationship Id="rId16" Type="http://schemas.openxmlformats.org/officeDocument/2006/relationships/handoutMaster" Target="handoutMasters/handoutMaster1.xml"/><Relationship Id="rId15" Type="http://schemas.openxmlformats.org/officeDocument/2006/relationships/notesMaster" Target="notesMasters/notesMaster1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1E026E-5821-4914-88D2-30408802E002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38D247-7245-4E89-ABFF-FE914D202D35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.v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德國工廠-塑科精密 copy.jpg"/>
          <p:cNvPicPr>
            <a:picLocks noChangeAspect="1"/>
          </p:cNvPicPr>
          <p:nvPr userDrawn="1"/>
        </p:nvPicPr>
        <p:blipFill>
          <a:blip r:embed="rId2" cstate="email"/>
          <a:srcRect t="18" b="18"/>
          <a:stretch>
            <a:fillRect/>
          </a:stretch>
        </p:blipFill>
        <p:spPr>
          <a:xfrm>
            <a:off x="0" y="-19251"/>
            <a:ext cx="12192000" cy="4836957"/>
          </a:xfrm>
          <a:prstGeom prst="rect">
            <a:avLst/>
          </a:prstGeom>
        </p:spPr>
      </p:pic>
      <p:sp>
        <p:nvSpPr>
          <p:cNvPr id="56" name="矩形 55"/>
          <p:cNvSpPr/>
          <p:nvPr/>
        </p:nvSpPr>
        <p:spPr>
          <a:xfrm>
            <a:off x="1588" y="-19251"/>
            <a:ext cx="12188825" cy="4864440"/>
          </a:xfrm>
          <a:prstGeom prst="rect">
            <a:avLst/>
          </a:prstGeom>
          <a:solidFill>
            <a:srgbClr val="FFFFFF">
              <a:alpha val="55000"/>
            </a:srgbClr>
          </a:solidFill>
          <a:ln>
            <a:noFill/>
          </a:ln>
          <a:effectLst/>
        </p:spPr>
        <p:txBody>
          <a:bodyPr wrap="square" lIns="91440" tIns="68580" rIns="68580" bIns="685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300"/>
              </a:spcBef>
            </a:pPr>
            <a:endParaRPr lang="zh-CN" altLang="en-US" sz="1000" dirty="0" err="1">
              <a:solidFill>
                <a:schemeClr val="tx2"/>
              </a:solidFill>
              <a:latin typeface="Arial" panose="020B0604020202090204" pitchFamily="34" charset="0"/>
              <a:ea typeface="微软雅黑" panose="020B0503020204020204" pitchFamily="34" charset="-122"/>
              <a:sym typeface="Arial" panose="020B0604020202090204" pitchFamily="34" charset="0"/>
            </a:endParaRPr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195872" y="5053131"/>
            <a:ext cx="5146148" cy="807317"/>
            <a:chOff x="12666304" y="9218286"/>
            <a:chExt cx="11479713" cy="1800914"/>
          </a:xfrm>
        </p:grpSpPr>
        <p:sp>
          <p:nvSpPr>
            <p:cNvPr id="15" name="Oval 29"/>
            <p:cNvSpPr/>
            <p:nvPr/>
          </p:nvSpPr>
          <p:spPr>
            <a:xfrm>
              <a:off x="12666304" y="9218286"/>
              <a:ext cx="1800913" cy="180091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sp>
          <p:nvSpPr>
            <p:cNvPr id="16" name="Oval 41"/>
            <p:cNvSpPr/>
            <p:nvPr/>
          </p:nvSpPr>
          <p:spPr>
            <a:xfrm>
              <a:off x="15086005" y="9218286"/>
              <a:ext cx="1800913" cy="180091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sp>
          <p:nvSpPr>
            <p:cNvPr id="17" name="Oval 42"/>
            <p:cNvSpPr/>
            <p:nvPr/>
          </p:nvSpPr>
          <p:spPr>
            <a:xfrm>
              <a:off x="17505705" y="9218286"/>
              <a:ext cx="1800913" cy="180091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sp>
          <p:nvSpPr>
            <p:cNvPr id="18" name="Oval 45"/>
            <p:cNvSpPr/>
            <p:nvPr/>
          </p:nvSpPr>
          <p:spPr>
            <a:xfrm>
              <a:off x="19925403" y="9218286"/>
              <a:ext cx="1800913" cy="180091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sp>
          <p:nvSpPr>
            <p:cNvPr id="19" name="Oval 46"/>
            <p:cNvSpPr/>
            <p:nvPr/>
          </p:nvSpPr>
          <p:spPr>
            <a:xfrm>
              <a:off x="22345104" y="9218286"/>
              <a:ext cx="1800913" cy="1800914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grpSp>
          <p:nvGrpSpPr>
            <p:cNvPr id="20" name="Group 48"/>
            <p:cNvGrpSpPr/>
            <p:nvPr/>
          </p:nvGrpSpPr>
          <p:grpSpPr>
            <a:xfrm>
              <a:off x="20411556" y="9665676"/>
              <a:ext cx="905522" cy="906114"/>
              <a:chOff x="2524463" y="4766967"/>
              <a:chExt cx="618725" cy="618888"/>
            </a:xfrm>
            <a:solidFill>
              <a:schemeClr val="bg1"/>
            </a:solidFill>
          </p:grpSpPr>
          <p:sp>
            <p:nvSpPr>
              <p:cNvPr id="39" name="Freeform 67"/>
              <p:cNvSpPr>
                <a:spLocks noChangeArrowheads="1"/>
              </p:cNvSpPr>
              <p:nvPr/>
            </p:nvSpPr>
            <p:spPr bwMode="auto">
              <a:xfrm>
                <a:off x="2704225" y="4779511"/>
                <a:ext cx="117056" cy="117086"/>
              </a:xfrm>
              <a:custGeom>
                <a:avLst/>
                <a:gdLst>
                  <a:gd name="T0" fmla="*/ 0 w 123"/>
                  <a:gd name="T1" fmla="*/ 122 h 123"/>
                  <a:gd name="T2" fmla="*/ 0 w 123"/>
                  <a:gd name="T3" fmla="*/ 122 h 123"/>
                  <a:gd name="T4" fmla="*/ 122 w 123"/>
                  <a:gd name="T5" fmla="*/ 122 h 123"/>
                  <a:gd name="T6" fmla="*/ 122 w 123"/>
                  <a:gd name="T7" fmla="*/ 0 h 123"/>
                  <a:gd name="T8" fmla="*/ 0 w 123"/>
                  <a:gd name="T9" fmla="*/ 122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123">
                    <a:moveTo>
                      <a:pt x="0" y="122"/>
                    </a:moveTo>
                    <a:lnTo>
                      <a:pt x="0" y="122"/>
                    </a:lnTo>
                    <a:cubicBezTo>
                      <a:pt x="122" y="122"/>
                      <a:pt x="122" y="122"/>
                      <a:pt x="122" y="122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68" y="0"/>
                      <a:pt x="26" y="54"/>
                      <a:pt x="0" y="122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0" name="Freeform 68"/>
              <p:cNvSpPr>
                <a:spLocks noChangeArrowheads="1"/>
              </p:cNvSpPr>
              <p:nvPr/>
            </p:nvSpPr>
            <p:spPr bwMode="auto">
              <a:xfrm>
                <a:off x="2666603" y="4934235"/>
                <a:ext cx="154681" cy="129630"/>
              </a:xfrm>
              <a:custGeom>
                <a:avLst/>
                <a:gdLst>
                  <a:gd name="T0" fmla="*/ 163 w 164"/>
                  <a:gd name="T1" fmla="*/ 136 h 137"/>
                  <a:gd name="T2" fmla="*/ 163 w 164"/>
                  <a:gd name="T3" fmla="*/ 136 h 137"/>
                  <a:gd name="T4" fmla="*/ 163 w 164"/>
                  <a:gd name="T5" fmla="*/ 0 h 137"/>
                  <a:gd name="T6" fmla="*/ 27 w 164"/>
                  <a:gd name="T7" fmla="*/ 0 h 137"/>
                  <a:gd name="T8" fmla="*/ 0 w 164"/>
                  <a:gd name="T9" fmla="*/ 136 h 137"/>
                  <a:gd name="T10" fmla="*/ 163 w 164"/>
                  <a:gd name="T11" fmla="*/ 13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4" h="137">
                    <a:moveTo>
                      <a:pt x="163" y="136"/>
                    </a:moveTo>
                    <a:lnTo>
                      <a:pt x="163" y="136"/>
                    </a:lnTo>
                    <a:cubicBezTo>
                      <a:pt x="163" y="0"/>
                      <a:pt x="163" y="0"/>
                      <a:pt x="163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13" y="40"/>
                      <a:pt x="0" y="82"/>
                      <a:pt x="0" y="136"/>
                    </a:cubicBezTo>
                    <a:lnTo>
                      <a:pt x="163" y="136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1" name="Freeform 69"/>
              <p:cNvSpPr>
                <a:spLocks noChangeArrowheads="1"/>
              </p:cNvSpPr>
              <p:nvPr/>
            </p:nvSpPr>
            <p:spPr bwMode="auto">
              <a:xfrm>
                <a:off x="2850546" y="4779511"/>
                <a:ext cx="117056" cy="117086"/>
              </a:xfrm>
              <a:custGeom>
                <a:avLst/>
                <a:gdLst>
                  <a:gd name="T0" fmla="*/ 0 w 122"/>
                  <a:gd name="T1" fmla="*/ 0 h 123"/>
                  <a:gd name="T2" fmla="*/ 0 w 122"/>
                  <a:gd name="T3" fmla="*/ 0 h 123"/>
                  <a:gd name="T4" fmla="*/ 0 w 122"/>
                  <a:gd name="T5" fmla="*/ 122 h 123"/>
                  <a:gd name="T6" fmla="*/ 121 w 122"/>
                  <a:gd name="T7" fmla="*/ 122 h 123"/>
                  <a:gd name="T8" fmla="*/ 0 w 122"/>
                  <a:gd name="T9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123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122"/>
                      <a:pt x="0" y="122"/>
                      <a:pt x="0" y="122"/>
                    </a:cubicBezTo>
                    <a:cubicBezTo>
                      <a:pt x="121" y="122"/>
                      <a:pt x="121" y="122"/>
                      <a:pt x="121" y="122"/>
                    </a:cubicBezTo>
                    <a:cubicBezTo>
                      <a:pt x="95" y="54"/>
                      <a:pt x="41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2" name="Freeform 70"/>
              <p:cNvSpPr>
                <a:spLocks noChangeArrowheads="1"/>
              </p:cNvSpPr>
              <p:nvPr/>
            </p:nvSpPr>
            <p:spPr bwMode="auto">
              <a:xfrm>
                <a:off x="2524463" y="5088955"/>
                <a:ext cx="142140" cy="142175"/>
              </a:xfrm>
              <a:custGeom>
                <a:avLst/>
                <a:gdLst>
                  <a:gd name="T0" fmla="*/ 122 w 151"/>
                  <a:gd name="T1" fmla="*/ 0 h 150"/>
                  <a:gd name="T2" fmla="*/ 122 w 151"/>
                  <a:gd name="T3" fmla="*/ 0 h 150"/>
                  <a:gd name="T4" fmla="*/ 0 w 151"/>
                  <a:gd name="T5" fmla="*/ 0 h 150"/>
                  <a:gd name="T6" fmla="*/ 42 w 151"/>
                  <a:gd name="T7" fmla="*/ 149 h 150"/>
                  <a:gd name="T8" fmla="*/ 42 w 151"/>
                  <a:gd name="T9" fmla="*/ 149 h 150"/>
                  <a:gd name="T10" fmla="*/ 150 w 151"/>
                  <a:gd name="T11" fmla="*/ 149 h 150"/>
                  <a:gd name="T12" fmla="*/ 122 w 151"/>
                  <a:gd name="T13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1" h="150">
                    <a:moveTo>
                      <a:pt x="122" y="0"/>
                    </a:moveTo>
                    <a:lnTo>
                      <a:pt x="122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54"/>
                      <a:pt x="14" y="109"/>
                      <a:pt x="42" y="149"/>
                    </a:cubicBezTo>
                    <a:lnTo>
                      <a:pt x="42" y="149"/>
                    </a:lnTo>
                    <a:cubicBezTo>
                      <a:pt x="150" y="149"/>
                      <a:pt x="150" y="149"/>
                      <a:pt x="150" y="149"/>
                    </a:cubicBezTo>
                    <a:cubicBezTo>
                      <a:pt x="136" y="109"/>
                      <a:pt x="122" y="54"/>
                      <a:pt x="122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3" name="Freeform 71"/>
              <p:cNvSpPr>
                <a:spLocks noChangeArrowheads="1"/>
              </p:cNvSpPr>
              <p:nvPr/>
            </p:nvSpPr>
            <p:spPr bwMode="auto">
              <a:xfrm>
                <a:off x="3001048" y="5088955"/>
                <a:ext cx="142140" cy="142175"/>
              </a:xfrm>
              <a:custGeom>
                <a:avLst/>
                <a:gdLst>
                  <a:gd name="T0" fmla="*/ 14 w 150"/>
                  <a:gd name="T1" fmla="*/ 0 h 150"/>
                  <a:gd name="T2" fmla="*/ 14 w 150"/>
                  <a:gd name="T3" fmla="*/ 0 h 150"/>
                  <a:gd name="T4" fmla="*/ 0 w 150"/>
                  <a:gd name="T5" fmla="*/ 149 h 150"/>
                  <a:gd name="T6" fmla="*/ 95 w 150"/>
                  <a:gd name="T7" fmla="*/ 149 h 150"/>
                  <a:gd name="T8" fmla="*/ 109 w 150"/>
                  <a:gd name="T9" fmla="*/ 149 h 150"/>
                  <a:gd name="T10" fmla="*/ 149 w 150"/>
                  <a:gd name="T11" fmla="*/ 0 h 150"/>
                  <a:gd name="T12" fmla="*/ 14 w 150"/>
                  <a:gd name="T13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0" h="150">
                    <a:moveTo>
                      <a:pt x="14" y="0"/>
                    </a:moveTo>
                    <a:lnTo>
                      <a:pt x="14" y="0"/>
                    </a:lnTo>
                    <a:cubicBezTo>
                      <a:pt x="14" y="54"/>
                      <a:pt x="0" y="109"/>
                      <a:pt x="0" y="149"/>
                    </a:cubicBezTo>
                    <a:cubicBezTo>
                      <a:pt x="95" y="149"/>
                      <a:pt x="95" y="149"/>
                      <a:pt x="95" y="149"/>
                    </a:cubicBezTo>
                    <a:lnTo>
                      <a:pt x="109" y="149"/>
                    </a:lnTo>
                    <a:cubicBezTo>
                      <a:pt x="122" y="109"/>
                      <a:pt x="149" y="54"/>
                      <a:pt x="149" y="0"/>
                    </a:cubicBezTo>
                    <a:lnTo>
                      <a:pt x="14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4" name="Freeform 72"/>
              <p:cNvSpPr>
                <a:spLocks noChangeArrowheads="1"/>
              </p:cNvSpPr>
              <p:nvPr/>
            </p:nvSpPr>
            <p:spPr bwMode="auto">
              <a:xfrm>
                <a:off x="2666603" y="5088955"/>
                <a:ext cx="154681" cy="142175"/>
              </a:xfrm>
              <a:custGeom>
                <a:avLst/>
                <a:gdLst>
                  <a:gd name="T0" fmla="*/ 163 w 164"/>
                  <a:gd name="T1" fmla="*/ 0 h 150"/>
                  <a:gd name="T2" fmla="*/ 163 w 164"/>
                  <a:gd name="T3" fmla="*/ 0 h 150"/>
                  <a:gd name="T4" fmla="*/ 0 w 164"/>
                  <a:gd name="T5" fmla="*/ 0 h 150"/>
                  <a:gd name="T6" fmla="*/ 27 w 164"/>
                  <a:gd name="T7" fmla="*/ 149 h 150"/>
                  <a:gd name="T8" fmla="*/ 163 w 164"/>
                  <a:gd name="T9" fmla="*/ 149 h 150"/>
                  <a:gd name="T10" fmla="*/ 163 w 164"/>
                  <a:gd name="T11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4" h="150">
                    <a:moveTo>
                      <a:pt x="163" y="0"/>
                    </a:moveTo>
                    <a:lnTo>
                      <a:pt x="163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54"/>
                      <a:pt x="13" y="109"/>
                      <a:pt x="27" y="149"/>
                    </a:cubicBezTo>
                    <a:cubicBezTo>
                      <a:pt x="163" y="149"/>
                      <a:pt x="163" y="149"/>
                      <a:pt x="163" y="149"/>
                    </a:cubicBezTo>
                    <a:lnTo>
                      <a:pt x="163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5" name="Freeform 73"/>
              <p:cNvSpPr>
                <a:spLocks noChangeArrowheads="1"/>
              </p:cNvSpPr>
              <p:nvPr/>
            </p:nvSpPr>
            <p:spPr bwMode="auto">
              <a:xfrm>
                <a:off x="2524463" y="4921688"/>
                <a:ext cx="142140" cy="142175"/>
              </a:xfrm>
              <a:custGeom>
                <a:avLst/>
                <a:gdLst>
                  <a:gd name="T0" fmla="*/ 122 w 151"/>
                  <a:gd name="T1" fmla="*/ 150 h 151"/>
                  <a:gd name="T2" fmla="*/ 122 w 151"/>
                  <a:gd name="T3" fmla="*/ 150 h 151"/>
                  <a:gd name="T4" fmla="*/ 150 w 151"/>
                  <a:gd name="T5" fmla="*/ 14 h 151"/>
                  <a:gd name="T6" fmla="*/ 42 w 151"/>
                  <a:gd name="T7" fmla="*/ 14 h 151"/>
                  <a:gd name="T8" fmla="*/ 42 w 151"/>
                  <a:gd name="T9" fmla="*/ 0 h 151"/>
                  <a:gd name="T10" fmla="*/ 0 w 151"/>
                  <a:gd name="T11" fmla="*/ 150 h 151"/>
                  <a:gd name="T12" fmla="*/ 122 w 151"/>
                  <a:gd name="T13" fmla="*/ 15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1" h="151">
                    <a:moveTo>
                      <a:pt x="122" y="150"/>
                    </a:moveTo>
                    <a:lnTo>
                      <a:pt x="122" y="150"/>
                    </a:lnTo>
                    <a:cubicBezTo>
                      <a:pt x="122" y="96"/>
                      <a:pt x="136" y="54"/>
                      <a:pt x="150" y="14"/>
                    </a:cubicBezTo>
                    <a:cubicBezTo>
                      <a:pt x="42" y="14"/>
                      <a:pt x="42" y="14"/>
                      <a:pt x="42" y="14"/>
                    </a:cubicBezTo>
                    <a:lnTo>
                      <a:pt x="42" y="0"/>
                    </a:lnTo>
                    <a:cubicBezTo>
                      <a:pt x="14" y="54"/>
                      <a:pt x="0" y="96"/>
                      <a:pt x="0" y="150"/>
                    </a:cubicBezTo>
                    <a:lnTo>
                      <a:pt x="122" y="15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6" name="Freeform 74"/>
              <p:cNvSpPr>
                <a:spLocks noChangeArrowheads="1"/>
              </p:cNvSpPr>
              <p:nvPr/>
            </p:nvSpPr>
            <p:spPr bwMode="auto">
              <a:xfrm>
                <a:off x="2850547" y="4934235"/>
                <a:ext cx="142140" cy="129630"/>
              </a:xfrm>
              <a:custGeom>
                <a:avLst/>
                <a:gdLst>
                  <a:gd name="T0" fmla="*/ 149 w 150"/>
                  <a:gd name="T1" fmla="*/ 136 h 137"/>
                  <a:gd name="T2" fmla="*/ 149 w 150"/>
                  <a:gd name="T3" fmla="*/ 136 h 137"/>
                  <a:gd name="T4" fmla="*/ 121 w 150"/>
                  <a:gd name="T5" fmla="*/ 0 h 137"/>
                  <a:gd name="T6" fmla="*/ 0 w 150"/>
                  <a:gd name="T7" fmla="*/ 0 h 137"/>
                  <a:gd name="T8" fmla="*/ 0 w 150"/>
                  <a:gd name="T9" fmla="*/ 136 h 137"/>
                  <a:gd name="T10" fmla="*/ 149 w 150"/>
                  <a:gd name="T11" fmla="*/ 13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0" h="137">
                    <a:moveTo>
                      <a:pt x="149" y="136"/>
                    </a:moveTo>
                    <a:lnTo>
                      <a:pt x="149" y="136"/>
                    </a:lnTo>
                    <a:cubicBezTo>
                      <a:pt x="149" y="82"/>
                      <a:pt x="135" y="40"/>
                      <a:pt x="12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6"/>
                      <a:pt x="0" y="136"/>
                      <a:pt x="0" y="136"/>
                    </a:cubicBezTo>
                    <a:lnTo>
                      <a:pt x="149" y="136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7" name="Freeform 75"/>
              <p:cNvSpPr>
                <a:spLocks noChangeArrowheads="1"/>
              </p:cNvSpPr>
              <p:nvPr/>
            </p:nvSpPr>
            <p:spPr bwMode="auto">
              <a:xfrm>
                <a:off x="2574630" y="4766967"/>
                <a:ext cx="183944" cy="129630"/>
              </a:xfrm>
              <a:custGeom>
                <a:avLst/>
                <a:gdLst>
                  <a:gd name="T0" fmla="*/ 109 w 192"/>
                  <a:gd name="T1" fmla="*/ 136 h 137"/>
                  <a:gd name="T2" fmla="*/ 109 w 192"/>
                  <a:gd name="T3" fmla="*/ 136 h 137"/>
                  <a:gd name="T4" fmla="*/ 191 w 192"/>
                  <a:gd name="T5" fmla="*/ 0 h 137"/>
                  <a:gd name="T6" fmla="*/ 0 w 192"/>
                  <a:gd name="T7" fmla="*/ 136 h 137"/>
                  <a:gd name="T8" fmla="*/ 109 w 192"/>
                  <a:gd name="T9" fmla="*/ 13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2" h="137">
                    <a:moveTo>
                      <a:pt x="109" y="136"/>
                    </a:moveTo>
                    <a:lnTo>
                      <a:pt x="109" y="136"/>
                    </a:lnTo>
                    <a:cubicBezTo>
                      <a:pt x="123" y="82"/>
                      <a:pt x="151" y="28"/>
                      <a:pt x="191" y="0"/>
                    </a:cubicBezTo>
                    <a:cubicBezTo>
                      <a:pt x="109" y="28"/>
                      <a:pt x="42" y="82"/>
                      <a:pt x="0" y="136"/>
                    </a:cubicBezTo>
                    <a:lnTo>
                      <a:pt x="109" y="136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8" name="Freeform 76"/>
              <p:cNvSpPr>
                <a:spLocks noChangeArrowheads="1"/>
              </p:cNvSpPr>
              <p:nvPr/>
            </p:nvSpPr>
            <p:spPr bwMode="auto">
              <a:xfrm>
                <a:off x="2574630" y="5256222"/>
                <a:ext cx="183944" cy="129633"/>
              </a:xfrm>
              <a:custGeom>
                <a:avLst/>
                <a:gdLst>
                  <a:gd name="T0" fmla="*/ 109 w 192"/>
                  <a:gd name="T1" fmla="*/ 0 h 136"/>
                  <a:gd name="T2" fmla="*/ 109 w 192"/>
                  <a:gd name="T3" fmla="*/ 0 h 136"/>
                  <a:gd name="T4" fmla="*/ 0 w 192"/>
                  <a:gd name="T5" fmla="*/ 0 h 136"/>
                  <a:gd name="T6" fmla="*/ 191 w 192"/>
                  <a:gd name="T7" fmla="*/ 135 h 136"/>
                  <a:gd name="T8" fmla="*/ 109 w 192"/>
                  <a:gd name="T9" fmla="*/ 0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2" h="136">
                    <a:moveTo>
                      <a:pt x="109" y="0"/>
                    </a:moveTo>
                    <a:lnTo>
                      <a:pt x="109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42" y="67"/>
                      <a:pt x="109" y="121"/>
                      <a:pt x="191" y="135"/>
                    </a:cubicBezTo>
                    <a:cubicBezTo>
                      <a:pt x="151" y="109"/>
                      <a:pt x="123" y="67"/>
                      <a:pt x="109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9" name="Freeform 77"/>
              <p:cNvSpPr>
                <a:spLocks noChangeArrowheads="1"/>
              </p:cNvSpPr>
              <p:nvPr/>
            </p:nvSpPr>
            <p:spPr bwMode="auto">
              <a:xfrm>
                <a:off x="2900713" y="4766967"/>
                <a:ext cx="179762" cy="129630"/>
              </a:xfrm>
              <a:custGeom>
                <a:avLst/>
                <a:gdLst>
                  <a:gd name="T0" fmla="*/ 95 w 191"/>
                  <a:gd name="T1" fmla="*/ 136 h 137"/>
                  <a:gd name="T2" fmla="*/ 95 w 191"/>
                  <a:gd name="T3" fmla="*/ 136 h 137"/>
                  <a:gd name="T4" fmla="*/ 190 w 191"/>
                  <a:gd name="T5" fmla="*/ 136 h 137"/>
                  <a:gd name="T6" fmla="*/ 0 w 191"/>
                  <a:gd name="T7" fmla="*/ 0 h 137"/>
                  <a:gd name="T8" fmla="*/ 95 w 191"/>
                  <a:gd name="T9" fmla="*/ 13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" h="137">
                    <a:moveTo>
                      <a:pt x="95" y="136"/>
                    </a:moveTo>
                    <a:lnTo>
                      <a:pt x="95" y="136"/>
                    </a:lnTo>
                    <a:cubicBezTo>
                      <a:pt x="190" y="136"/>
                      <a:pt x="190" y="136"/>
                      <a:pt x="190" y="136"/>
                    </a:cubicBezTo>
                    <a:cubicBezTo>
                      <a:pt x="150" y="82"/>
                      <a:pt x="81" y="28"/>
                      <a:pt x="0" y="0"/>
                    </a:cubicBezTo>
                    <a:cubicBezTo>
                      <a:pt x="41" y="28"/>
                      <a:pt x="67" y="82"/>
                      <a:pt x="95" y="136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0" name="Freeform 78"/>
              <p:cNvSpPr>
                <a:spLocks noChangeArrowheads="1"/>
              </p:cNvSpPr>
              <p:nvPr/>
            </p:nvSpPr>
            <p:spPr bwMode="auto">
              <a:xfrm>
                <a:off x="2900713" y="5256222"/>
                <a:ext cx="179762" cy="129633"/>
              </a:xfrm>
              <a:custGeom>
                <a:avLst/>
                <a:gdLst>
                  <a:gd name="T0" fmla="*/ 95 w 191"/>
                  <a:gd name="T1" fmla="*/ 0 h 136"/>
                  <a:gd name="T2" fmla="*/ 95 w 191"/>
                  <a:gd name="T3" fmla="*/ 0 h 136"/>
                  <a:gd name="T4" fmla="*/ 0 w 191"/>
                  <a:gd name="T5" fmla="*/ 135 h 136"/>
                  <a:gd name="T6" fmla="*/ 190 w 191"/>
                  <a:gd name="T7" fmla="*/ 0 h 136"/>
                  <a:gd name="T8" fmla="*/ 95 w 191"/>
                  <a:gd name="T9" fmla="*/ 0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" h="136">
                    <a:moveTo>
                      <a:pt x="95" y="0"/>
                    </a:moveTo>
                    <a:lnTo>
                      <a:pt x="95" y="0"/>
                    </a:lnTo>
                    <a:cubicBezTo>
                      <a:pt x="67" y="67"/>
                      <a:pt x="41" y="109"/>
                      <a:pt x="0" y="135"/>
                    </a:cubicBezTo>
                    <a:cubicBezTo>
                      <a:pt x="81" y="121"/>
                      <a:pt x="150" y="67"/>
                      <a:pt x="190" y="0"/>
                    </a:cubicBezTo>
                    <a:lnTo>
                      <a:pt x="95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1" name="Freeform 79"/>
              <p:cNvSpPr>
                <a:spLocks noChangeArrowheads="1"/>
              </p:cNvSpPr>
              <p:nvPr/>
            </p:nvSpPr>
            <p:spPr bwMode="auto">
              <a:xfrm>
                <a:off x="3001048" y="4921688"/>
                <a:ext cx="142140" cy="142175"/>
              </a:xfrm>
              <a:custGeom>
                <a:avLst/>
                <a:gdLst>
                  <a:gd name="T0" fmla="*/ 95 w 150"/>
                  <a:gd name="T1" fmla="*/ 14 h 151"/>
                  <a:gd name="T2" fmla="*/ 95 w 150"/>
                  <a:gd name="T3" fmla="*/ 14 h 151"/>
                  <a:gd name="T4" fmla="*/ 0 w 150"/>
                  <a:gd name="T5" fmla="*/ 14 h 151"/>
                  <a:gd name="T6" fmla="*/ 14 w 150"/>
                  <a:gd name="T7" fmla="*/ 150 h 151"/>
                  <a:gd name="T8" fmla="*/ 149 w 150"/>
                  <a:gd name="T9" fmla="*/ 150 h 151"/>
                  <a:gd name="T10" fmla="*/ 109 w 150"/>
                  <a:gd name="T11" fmla="*/ 0 h 151"/>
                  <a:gd name="T12" fmla="*/ 95 w 150"/>
                  <a:gd name="T13" fmla="*/ 14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0" h="151">
                    <a:moveTo>
                      <a:pt x="95" y="14"/>
                    </a:moveTo>
                    <a:lnTo>
                      <a:pt x="95" y="14"/>
                    </a:lnTo>
                    <a:cubicBezTo>
                      <a:pt x="0" y="14"/>
                      <a:pt x="0" y="14"/>
                      <a:pt x="0" y="14"/>
                    </a:cubicBezTo>
                    <a:cubicBezTo>
                      <a:pt x="0" y="54"/>
                      <a:pt x="14" y="96"/>
                      <a:pt x="14" y="150"/>
                    </a:cubicBezTo>
                    <a:cubicBezTo>
                      <a:pt x="149" y="150"/>
                      <a:pt x="149" y="150"/>
                      <a:pt x="149" y="150"/>
                    </a:cubicBezTo>
                    <a:cubicBezTo>
                      <a:pt x="149" y="96"/>
                      <a:pt x="122" y="54"/>
                      <a:pt x="109" y="0"/>
                    </a:cubicBezTo>
                    <a:lnTo>
                      <a:pt x="95" y="14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2" name="Freeform 80"/>
              <p:cNvSpPr>
                <a:spLocks noChangeArrowheads="1"/>
              </p:cNvSpPr>
              <p:nvPr/>
            </p:nvSpPr>
            <p:spPr bwMode="auto">
              <a:xfrm>
                <a:off x="2850546" y="5256222"/>
                <a:ext cx="117056" cy="129633"/>
              </a:xfrm>
              <a:custGeom>
                <a:avLst/>
                <a:gdLst>
                  <a:gd name="T0" fmla="*/ 121 w 122"/>
                  <a:gd name="T1" fmla="*/ 0 h 136"/>
                  <a:gd name="T2" fmla="*/ 121 w 122"/>
                  <a:gd name="T3" fmla="*/ 0 h 136"/>
                  <a:gd name="T4" fmla="*/ 0 w 122"/>
                  <a:gd name="T5" fmla="*/ 0 h 136"/>
                  <a:gd name="T6" fmla="*/ 0 w 122"/>
                  <a:gd name="T7" fmla="*/ 135 h 136"/>
                  <a:gd name="T8" fmla="*/ 121 w 122"/>
                  <a:gd name="T9" fmla="*/ 0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136">
                    <a:moveTo>
                      <a:pt x="121" y="0"/>
                    </a:moveTo>
                    <a:lnTo>
                      <a:pt x="121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135"/>
                      <a:pt x="0" y="135"/>
                      <a:pt x="0" y="135"/>
                    </a:cubicBezTo>
                    <a:cubicBezTo>
                      <a:pt x="41" y="135"/>
                      <a:pt x="95" y="81"/>
                      <a:pt x="121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3" name="Freeform 81"/>
              <p:cNvSpPr>
                <a:spLocks noChangeArrowheads="1"/>
              </p:cNvSpPr>
              <p:nvPr/>
            </p:nvSpPr>
            <p:spPr bwMode="auto">
              <a:xfrm>
                <a:off x="2850547" y="5088955"/>
                <a:ext cx="142140" cy="142175"/>
              </a:xfrm>
              <a:custGeom>
                <a:avLst/>
                <a:gdLst>
                  <a:gd name="T0" fmla="*/ 0 w 150"/>
                  <a:gd name="T1" fmla="*/ 0 h 150"/>
                  <a:gd name="T2" fmla="*/ 0 w 150"/>
                  <a:gd name="T3" fmla="*/ 0 h 150"/>
                  <a:gd name="T4" fmla="*/ 0 w 150"/>
                  <a:gd name="T5" fmla="*/ 149 h 150"/>
                  <a:gd name="T6" fmla="*/ 121 w 150"/>
                  <a:gd name="T7" fmla="*/ 149 h 150"/>
                  <a:gd name="T8" fmla="*/ 149 w 150"/>
                  <a:gd name="T9" fmla="*/ 0 h 150"/>
                  <a:gd name="T10" fmla="*/ 0 w 150"/>
                  <a:gd name="T11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0" h="150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149"/>
                      <a:pt x="0" y="149"/>
                      <a:pt x="0" y="149"/>
                    </a:cubicBezTo>
                    <a:cubicBezTo>
                      <a:pt x="121" y="149"/>
                      <a:pt x="121" y="149"/>
                      <a:pt x="121" y="149"/>
                    </a:cubicBezTo>
                    <a:cubicBezTo>
                      <a:pt x="135" y="109"/>
                      <a:pt x="149" y="54"/>
                      <a:pt x="149" y="0"/>
                    </a:cubicBez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4" name="Freeform 82"/>
              <p:cNvSpPr>
                <a:spLocks noChangeArrowheads="1"/>
              </p:cNvSpPr>
              <p:nvPr/>
            </p:nvSpPr>
            <p:spPr bwMode="auto">
              <a:xfrm>
                <a:off x="2704225" y="5256222"/>
                <a:ext cx="117056" cy="129633"/>
              </a:xfrm>
              <a:custGeom>
                <a:avLst/>
                <a:gdLst>
                  <a:gd name="T0" fmla="*/ 122 w 123"/>
                  <a:gd name="T1" fmla="*/ 135 h 136"/>
                  <a:gd name="T2" fmla="*/ 122 w 123"/>
                  <a:gd name="T3" fmla="*/ 135 h 136"/>
                  <a:gd name="T4" fmla="*/ 122 w 123"/>
                  <a:gd name="T5" fmla="*/ 0 h 136"/>
                  <a:gd name="T6" fmla="*/ 0 w 123"/>
                  <a:gd name="T7" fmla="*/ 0 h 136"/>
                  <a:gd name="T8" fmla="*/ 122 w 123"/>
                  <a:gd name="T9" fmla="*/ 135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136">
                    <a:moveTo>
                      <a:pt x="122" y="135"/>
                    </a:moveTo>
                    <a:lnTo>
                      <a:pt x="122" y="135"/>
                    </a:lnTo>
                    <a:cubicBezTo>
                      <a:pt x="122" y="0"/>
                      <a:pt x="122" y="0"/>
                      <a:pt x="1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6" y="81"/>
                      <a:pt x="68" y="135"/>
                      <a:pt x="122" y="135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</p:grpSp>
        <p:sp>
          <p:nvSpPr>
            <p:cNvPr id="21" name="Freeform 182"/>
            <p:cNvSpPr>
              <a:spLocks noChangeArrowheads="1"/>
            </p:cNvSpPr>
            <p:nvPr/>
          </p:nvSpPr>
          <p:spPr bwMode="auto">
            <a:xfrm>
              <a:off x="13169449" y="9706778"/>
              <a:ext cx="823591" cy="823914"/>
            </a:xfrm>
            <a:custGeom>
              <a:avLst/>
              <a:gdLst>
                <a:gd name="T0" fmla="*/ 822259 w 654"/>
                <a:gd name="T1" fmla="*/ 0 h 654"/>
                <a:gd name="T2" fmla="*/ 0 w 654"/>
                <a:gd name="T3" fmla="*/ 17633 h 654"/>
                <a:gd name="T4" fmla="*/ 0 w 654"/>
                <a:gd name="T5" fmla="*/ 822474 h 654"/>
                <a:gd name="T6" fmla="*/ 342503 w 654"/>
                <a:gd name="T7" fmla="*/ 822474 h 654"/>
                <a:gd name="T8" fmla="*/ 478497 w 654"/>
                <a:gd name="T9" fmla="*/ 566789 h 654"/>
                <a:gd name="T10" fmla="*/ 478497 w 654"/>
                <a:gd name="T11" fmla="*/ 822474 h 654"/>
                <a:gd name="T12" fmla="*/ 822259 w 654"/>
                <a:gd name="T13" fmla="*/ 822474 h 654"/>
                <a:gd name="T14" fmla="*/ 822259 w 654"/>
                <a:gd name="T15" fmla="*/ 0 h 654"/>
                <a:gd name="T16" fmla="*/ 222879 w 654"/>
                <a:gd name="T17" fmla="*/ 566789 h 654"/>
                <a:gd name="T18" fmla="*/ 101995 w 654"/>
                <a:gd name="T19" fmla="*/ 702819 h 654"/>
                <a:gd name="T20" fmla="*/ 222879 w 654"/>
                <a:gd name="T21" fmla="*/ 566789 h 654"/>
                <a:gd name="T22" fmla="*/ 101995 w 654"/>
                <a:gd name="T23" fmla="*/ 463508 h 654"/>
                <a:gd name="T24" fmla="*/ 222879 w 654"/>
                <a:gd name="T25" fmla="*/ 326219 h 654"/>
                <a:gd name="T26" fmla="*/ 101995 w 654"/>
                <a:gd name="T27" fmla="*/ 463508 h 654"/>
                <a:gd name="T28" fmla="*/ 101995 w 654"/>
                <a:gd name="T29" fmla="*/ 222937 h 654"/>
                <a:gd name="T30" fmla="*/ 222879 w 654"/>
                <a:gd name="T31" fmla="*/ 85648 h 654"/>
                <a:gd name="T32" fmla="*/ 101995 w 654"/>
                <a:gd name="T33" fmla="*/ 222937 h 654"/>
                <a:gd name="T34" fmla="*/ 478497 w 654"/>
                <a:gd name="T35" fmla="*/ 326219 h 654"/>
                <a:gd name="T36" fmla="*/ 342503 w 654"/>
                <a:gd name="T37" fmla="*/ 463508 h 654"/>
                <a:gd name="T38" fmla="*/ 478497 w 654"/>
                <a:gd name="T39" fmla="*/ 326219 h 654"/>
                <a:gd name="T40" fmla="*/ 342503 w 654"/>
                <a:gd name="T41" fmla="*/ 222937 h 654"/>
                <a:gd name="T42" fmla="*/ 478497 w 654"/>
                <a:gd name="T43" fmla="*/ 85648 h 654"/>
                <a:gd name="T44" fmla="*/ 342503 w 654"/>
                <a:gd name="T45" fmla="*/ 222937 h 654"/>
                <a:gd name="T46" fmla="*/ 719004 w 654"/>
                <a:gd name="T47" fmla="*/ 566789 h 654"/>
                <a:gd name="T48" fmla="*/ 599380 w 654"/>
                <a:gd name="T49" fmla="*/ 702819 h 654"/>
                <a:gd name="T50" fmla="*/ 719004 w 654"/>
                <a:gd name="T51" fmla="*/ 566789 h 654"/>
                <a:gd name="T52" fmla="*/ 599380 w 654"/>
                <a:gd name="T53" fmla="*/ 463508 h 654"/>
                <a:gd name="T54" fmla="*/ 719004 w 654"/>
                <a:gd name="T55" fmla="*/ 326219 h 654"/>
                <a:gd name="T56" fmla="*/ 599380 w 654"/>
                <a:gd name="T57" fmla="*/ 463508 h 654"/>
                <a:gd name="T58" fmla="*/ 599380 w 654"/>
                <a:gd name="T59" fmla="*/ 222937 h 654"/>
                <a:gd name="T60" fmla="*/ 719004 w 654"/>
                <a:gd name="T61" fmla="*/ 85648 h 654"/>
                <a:gd name="T62" fmla="*/ 599380 w 654"/>
                <a:gd name="T63" fmla="*/ 222937 h 65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654" h="654">
                  <a:moveTo>
                    <a:pt x="653" y="0"/>
                  </a:moveTo>
                  <a:lnTo>
                    <a:pt x="653" y="0"/>
                  </a:ln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4"/>
                  </a:cubicBezTo>
                  <a:cubicBezTo>
                    <a:pt x="0" y="653"/>
                    <a:pt x="0" y="653"/>
                    <a:pt x="0" y="653"/>
                  </a:cubicBezTo>
                  <a:cubicBezTo>
                    <a:pt x="272" y="653"/>
                    <a:pt x="272" y="653"/>
                    <a:pt x="272" y="653"/>
                  </a:cubicBezTo>
                  <a:cubicBezTo>
                    <a:pt x="272" y="450"/>
                    <a:pt x="272" y="450"/>
                    <a:pt x="272" y="450"/>
                  </a:cubicBezTo>
                  <a:cubicBezTo>
                    <a:pt x="380" y="450"/>
                    <a:pt x="380" y="450"/>
                    <a:pt x="380" y="450"/>
                  </a:cubicBezTo>
                  <a:cubicBezTo>
                    <a:pt x="380" y="653"/>
                    <a:pt x="380" y="653"/>
                    <a:pt x="380" y="653"/>
                  </a:cubicBezTo>
                  <a:cubicBezTo>
                    <a:pt x="653" y="653"/>
                    <a:pt x="653" y="653"/>
                    <a:pt x="653" y="653"/>
                  </a:cubicBezTo>
                  <a:cubicBezTo>
                    <a:pt x="653" y="14"/>
                    <a:pt x="653" y="14"/>
                    <a:pt x="653" y="14"/>
                  </a:cubicBezTo>
                  <a:cubicBezTo>
                    <a:pt x="653" y="0"/>
                    <a:pt x="653" y="0"/>
                    <a:pt x="653" y="0"/>
                  </a:cubicBezTo>
                  <a:close/>
                  <a:moveTo>
                    <a:pt x="177" y="450"/>
                  </a:moveTo>
                  <a:lnTo>
                    <a:pt x="177" y="450"/>
                  </a:lnTo>
                  <a:cubicBezTo>
                    <a:pt x="177" y="558"/>
                    <a:pt x="177" y="558"/>
                    <a:pt x="177" y="558"/>
                  </a:cubicBezTo>
                  <a:cubicBezTo>
                    <a:pt x="81" y="558"/>
                    <a:pt x="81" y="558"/>
                    <a:pt x="81" y="558"/>
                  </a:cubicBezTo>
                  <a:cubicBezTo>
                    <a:pt x="81" y="450"/>
                    <a:pt x="81" y="450"/>
                    <a:pt x="81" y="450"/>
                  </a:cubicBezTo>
                  <a:lnTo>
                    <a:pt x="177" y="450"/>
                  </a:lnTo>
                  <a:close/>
                  <a:moveTo>
                    <a:pt x="81" y="368"/>
                  </a:moveTo>
                  <a:lnTo>
                    <a:pt x="81" y="368"/>
                  </a:lnTo>
                  <a:cubicBezTo>
                    <a:pt x="81" y="259"/>
                    <a:pt x="81" y="259"/>
                    <a:pt x="81" y="259"/>
                  </a:cubicBezTo>
                  <a:cubicBezTo>
                    <a:pt x="177" y="259"/>
                    <a:pt x="177" y="259"/>
                    <a:pt x="177" y="259"/>
                  </a:cubicBezTo>
                  <a:cubicBezTo>
                    <a:pt x="177" y="368"/>
                    <a:pt x="177" y="368"/>
                    <a:pt x="177" y="368"/>
                  </a:cubicBezTo>
                  <a:lnTo>
                    <a:pt x="81" y="368"/>
                  </a:lnTo>
                  <a:close/>
                  <a:moveTo>
                    <a:pt x="81" y="177"/>
                  </a:moveTo>
                  <a:lnTo>
                    <a:pt x="81" y="177"/>
                  </a:lnTo>
                  <a:cubicBezTo>
                    <a:pt x="81" y="68"/>
                    <a:pt x="81" y="68"/>
                    <a:pt x="81" y="68"/>
                  </a:cubicBezTo>
                  <a:cubicBezTo>
                    <a:pt x="177" y="68"/>
                    <a:pt x="177" y="68"/>
                    <a:pt x="177" y="68"/>
                  </a:cubicBezTo>
                  <a:cubicBezTo>
                    <a:pt x="177" y="177"/>
                    <a:pt x="177" y="177"/>
                    <a:pt x="177" y="177"/>
                  </a:cubicBezTo>
                  <a:lnTo>
                    <a:pt x="81" y="177"/>
                  </a:lnTo>
                  <a:close/>
                  <a:moveTo>
                    <a:pt x="380" y="259"/>
                  </a:moveTo>
                  <a:lnTo>
                    <a:pt x="380" y="259"/>
                  </a:lnTo>
                  <a:cubicBezTo>
                    <a:pt x="380" y="368"/>
                    <a:pt x="380" y="368"/>
                    <a:pt x="380" y="368"/>
                  </a:cubicBezTo>
                  <a:cubicBezTo>
                    <a:pt x="272" y="368"/>
                    <a:pt x="272" y="368"/>
                    <a:pt x="272" y="368"/>
                  </a:cubicBezTo>
                  <a:cubicBezTo>
                    <a:pt x="272" y="259"/>
                    <a:pt x="272" y="259"/>
                    <a:pt x="272" y="259"/>
                  </a:cubicBezTo>
                  <a:lnTo>
                    <a:pt x="380" y="259"/>
                  </a:lnTo>
                  <a:close/>
                  <a:moveTo>
                    <a:pt x="272" y="177"/>
                  </a:moveTo>
                  <a:lnTo>
                    <a:pt x="272" y="177"/>
                  </a:lnTo>
                  <a:cubicBezTo>
                    <a:pt x="272" y="68"/>
                    <a:pt x="272" y="68"/>
                    <a:pt x="272" y="68"/>
                  </a:cubicBezTo>
                  <a:cubicBezTo>
                    <a:pt x="380" y="68"/>
                    <a:pt x="380" y="68"/>
                    <a:pt x="380" y="68"/>
                  </a:cubicBezTo>
                  <a:cubicBezTo>
                    <a:pt x="380" y="177"/>
                    <a:pt x="380" y="177"/>
                    <a:pt x="380" y="177"/>
                  </a:cubicBezTo>
                  <a:lnTo>
                    <a:pt x="272" y="177"/>
                  </a:lnTo>
                  <a:close/>
                  <a:moveTo>
                    <a:pt x="571" y="450"/>
                  </a:moveTo>
                  <a:lnTo>
                    <a:pt x="571" y="450"/>
                  </a:lnTo>
                  <a:cubicBezTo>
                    <a:pt x="571" y="558"/>
                    <a:pt x="571" y="558"/>
                    <a:pt x="571" y="558"/>
                  </a:cubicBezTo>
                  <a:cubicBezTo>
                    <a:pt x="476" y="558"/>
                    <a:pt x="476" y="558"/>
                    <a:pt x="476" y="558"/>
                  </a:cubicBezTo>
                  <a:cubicBezTo>
                    <a:pt x="476" y="450"/>
                    <a:pt x="476" y="450"/>
                    <a:pt x="476" y="450"/>
                  </a:cubicBezTo>
                  <a:lnTo>
                    <a:pt x="571" y="450"/>
                  </a:lnTo>
                  <a:close/>
                  <a:moveTo>
                    <a:pt x="476" y="368"/>
                  </a:moveTo>
                  <a:lnTo>
                    <a:pt x="476" y="368"/>
                  </a:lnTo>
                  <a:cubicBezTo>
                    <a:pt x="476" y="259"/>
                    <a:pt x="476" y="259"/>
                    <a:pt x="476" y="259"/>
                  </a:cubicBezTo>
                  <a:cubicBezTo>
                    <a:pt x="571" y="259"/>
                    <a:pt x="571" y="259"/>
                    <a:pt x="571" y="259"/>
                  </a:cubicBezTo>
                  <a:cubicBezTo>
                    <a:pt x="571" y="368"/>
                    <a:pt x="571" y="368"/>
                    <a:pt x="571" y="368"/>
                  </a:cubicBezTo>
                  <a:lnTo>
                    <a:pt x="476" y="368"/>
                  </a:lnTo>
                  <a:close/>
                  <a:moveTo>
                    <a:pt x="476" y="177"/>
                  </a:moveTo>
                  <a:lnTo>
                    <a:pt x="476" y="177"/>
                  </a:lnTo>
                  <a:cubicBezTo>
                    <a:pt x="476" y="68"/>
                    <a:pt x="476" y="68"/>
                    <a:pt x="476" y="68"/>
                  </a:cubicBezTo>
                  <a:cubicBezTo>
                    <a:pt x="571" y="68"/>
                    <a:pt x="571" y="68"/>
                    <a:pt x="571" y="68"/>
                  </a:cubicBezTo>
                  <a:cubicBezTo>
                    <a:pt x="571" y="177"/>
                    <a:pt x="571" y="177"/>
                    <a:pt x="571" y="177"/>
                  </a:cubicBezTo>
                  <a:lnTo>
                    <a:pt x="476" y="1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none" lIns="75868" tIns="37945" rIns="75868" bIns="37945" anchor="ctr"/>
            <a:lstStyle/>
            <a:p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cs typeface="Lato Light"/>
                <a:sym typeface="Arial" panose="020B0604020202090204" pitchFamily="34" charset="0"/>
              </a:endParaRPr>
            </a:p>
          </p:txBody>
        </p:sp>
        <p:grpSp>
          <p:nvGrpSpPr>
            <p:cNvPr id="22" name="Group 67"/>
            <p:cNvGrpSpPr/>
            <p:nvPr/>
          </p:nvGrpSpPr>
          <p:grpSpPr>
            <a:xfrm>
              <a:off x="15607551" y="9704047"/>
              <a:ext cx="789822" cy="829308"/>
              <a:chOff x="6550342" y="10834538"/>
              <a:chExt cx="593638" cy="623070"/>
            </a:xfrm>
            <a:solidFill>
              <a:srgbClr val="FFFFFF"/>
            </a:solidFill>
          </p:grpSpPr>
          <p:sp>
            <p:nvSpPr>
              <p:cNvPr id="30" name="Freeform 220"/>
              <p:cNvSpPr>
                <a:spLocks noChangeArrowheads="1"/>
              </p:cNvSpPr>
              <p:nvPr/>
            </p:nvSpPr>
            <p:spPr bwMode="auto">
              <a:xfrm>
                <a:off x="6550342" y="10834540"/>
                <a:ext cx="209028" cy="401438"/>
              </a:xfrm>
              <a:custGeom>
                <a:avLst/>
                <a:gdLst>
                  <a:gd name="T0" fmla="*/ 218 w 219"/>
                  <a:gd name="T1" fmla="*/ 136 h 423"/>
                  <a:gd name="T2" fmla="*/ 218 w 219"/>
                  <a:gd name="T3" fmla="*/ 136 h 423"/>
                  <a:gd name="T4" fmla="*/ 54 w 219"/>
                  <a:gd name="T5" fmla="*/ 0 h 423"/>
                  <a:gd name="T6" fmla="*/ 0 w 219"/>
                  <a:gd name="T7" fmla="*/ 0 h 423"/>
                  <a:gd name="T8" fmla="*/ 0 w 219"/>
                  <a:gd name="T9" fmla="*/ 422 h 423"/>
                  <a:gd name="T10" fmla="*/ 41 w 219"/>
                  <a:gd name="T11" fmla="*/ 381 h 423"/>
                  <a:gd name="T12" fmla="*/ 54 w 219"/>
                  <a:gd name="T13" fmla="*/ 381 h 423"/>
                  <a:gd name="T14" fmla="*/ 218 w 219"/>
                  <a:gd name="T15" fmla="*/ 163 h 423"/>
                  <a:gd name="T16" fmla="*/ 218 w 219"/>
                  <a:gd name="T17" fmla="*/ 136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9" h="423">
                    <a:moveTo>
                      <a:pt x="218" y="136"/>
                    </a:moveTo>
                    <a:lnTo>
                      <a:pt x="218" y="136"/>
                    </a:lnTo>
                    <a:cubicBezTo>
                      <a:pt x="54" y="0"/>
                      <a:pt x="54" y="0"/>
                      <a:pt x="5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22"/>
                      <a:pt x="0" y="422"/>
                      <a:pt x="0" y="422"/>
                    </a:cubicBezTo>
                    <a:cubicBezTo>
                      <a:pt x="41" y="381"/>
                      <a:pt x="41" y="381"/>
                      <a:pt x="41" y="381"/>
                    </a:cubicBezTo>
                    <a:cubicBezTo>
                      <a:pt x="41" y="381"/>
                      <a:pt x="41" y="381"/>
                      <a:pt x="54" y="381"/>
                    </a:cubicBezTo>
                    <a:cubicBezTo>
                      <a:pt x="218" y="163"/>
                      <a:pt x="218" y="163"/>
                      <a:pt x="218" y="163"/>
                    </a:cubicBezTo>
                    <a:lnTo>
                      <a:pt x="218" y="136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1" name="Freeform 221"/>
              <p:cNvSpPr>
                <a:spLocks noChangeArrowheads="1"/>
              </p:cNvSpPr>
              <p:nvPr/>
            </p:nvSpPr>
            <p:spPr bwMode="auto">
              <a:xfrm>
                <a:off x="6654855" y="11311249"/>
                <a:ext cx="50167" cy="37636"/>
              </a:xfrm>
              <a:custGeom>
                <a:avLst/>
                <a:gdLst>
                  <a:gd name="T0" fmla="*/ 26 w 55"/>
                  <a:gd name="T1" fmla="*/ 0 h 41"/>
                  <a:gd name="T2" fmla="*/ 26 w 55"/>
                  <a:gd name="T3" fmla="*/ 0 h 41"/>
                  <a:gd name="T4" fmla="*/ 12 w 55"/>
                  <a:gd name="T5" fmla="*/ 0 h 41"/>
                  <a:gd name="T6" fmla="*/ 12 w 55"/>
                  <a:gd name="T7" fmla="*/ 27 h 41"/>
                  <a:gd name="T8" fmla="*/ 40 w 55"/>
                  <a:gd name="T9" fmla="*/ 27 h 41"/>
                  <a:gd name="T10" fmla="*/ 40 w 55"/>
                  <a:gd name="T11" fmla="*/ 0 h 41"/>
                  <a:gd name="T12" fmla="*/ 26 w 55"/>
                  <a:gd name="T13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5" h="41">
                    <a:moveTo>
                      <a:pt x="26" y="0"/>
                    </a:moveTo>
                    <a:lnTo>
                      <a:pt x="26" y="0"/>
                    </a:lnTo>
                    <a:lnTo>
                      <a:pt x="12" y="0"/>
                    </a:lnTo>
                    <a:cubicBezTo>
                      <a:pt x="0" y="12"/>
                      <a:pt x="12" y="27"/>
                      <a:pt x="12" y="27"/>
                    </a:cubicBezTo>
                    <a:cubicBezTo>
                      <a:pt x="26" y="40"/>
                      <a:pt x="40" y="40"/>
                      <a:pt x="40" y="27"/>
                    </a:cubicBezTo>
                    <a:cubicBezTo>
                      <a:pt x="54" y="12"/>
                      <a:pt x="54" y="0"/>
                      <a:pt x="40" y="0"/>
                    </a:cubicBezTo>
                    <a:cubicBezTo>
                      <a:pt x="40" y="0"/>
                      <a:pt x="40" y="0"/>
                      <a:pt x="26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2" name="Freeform 222"/>
              <p:cNvSpPr>
                <a:spLocks noChangeArrowheads="1"/>
              </p:cNvSpPr>
              <p:nvPr/>
            </p:nvSpPr>
            <p:spPr bwMode="auto">
              <a:xfrm>
                <a:off x="6604690" y="11261068"/>
                <a:ext cx="54346" cy="54363"/>
              </a:xfrm>
              <a:custGeom>
                <a:avLst/>
                <a:gdLst>
                  <a:gd name="T0" fmla="*/ 28 w 57"/>
                  <a:gd name="T1" fmla="*/ 0 h 56"/>
                  <a:gd name="T2" fmla="*/ 28 w 57"/>
                  <a:gd name="T3" fmla="*/ 0 h 56"/>
                  <a:gd name="T4" fmla="*/ 14 w 57"/>
                  <a:gd name="T5" fmla="*/ 13 h 56"/>
                  <a:gd name="T6" fmla="*/ 14 w 57"/>
                  <a:gd name="T7" fmla="*/ 41 h 56"/>
                  <a:gd name="T8" fmla="*/ 42 w 57"/>
                  <a:gd name="T9" fmla="*/ 41 h 56"/>
                  <a:gd name="T10" fmla="*/ 42 w 57"/>
                  <a:gd name="T11" fmla="*/ 13 h 56"/>
                  <a:gd name="T12" fmla="*/ 28 w 57"/>
                  <a:gd name="T1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56">
                    <a:moveTo>
                      <a:pt x="28" y="0"/>
                    </a:moveTo>
                    <a:lnTo>
                      <a:pt x="28" y="0"/>
                    </a:lnTo>
                    <a:lnTo>
                      <a:pt x="14" y="13"/>
                    </a:lnTo>
                    <a:cubicBezTo>
                      <a:pt x="0" y="27"/>
                      <a:pt x="14" y="41"/>
                      <a:pt x="14" y="41"/>
                    </a:cubicBezTo>
                    <a:cubicBezTo>
                      <a:pt x="28" y="55"/>
                      <a:pt x="42" y="55"/>
                      <a:pt x="42" y="41"/>
                    </a:cubicBezTo>
                    <a:cubicBezTo>
                      <a:pt x="56" y="27"/>
                      <a:pt x="56" y="13"/>
                      <a:pt x="42" y="13"/>
                    </a:cubicBezTo>
                    <a:cubicBezTo>
                      <a:pt x="42" y="0"/>
                      <a:pt x="42" y="0"/>
                      <a:pt x="28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3" name="Freeform 223"/>
              <p:cNvSpPr>
                <a:spLocks noChangeArrowheads="1"/>
              </p:cNvSpPr>
              <p:nvPr/>
            </p:nvSpPr>
            <p:spPr bwMode="auto">
              <a:xfrm>
                <a:off x="6964218" y="10834538"/>
                <a:ext cx="179762" cy="334532"/>
              </a:xfrm>
              <a:custGeom>
                <a:avLst/>
                <a:gdLst>
                  <a:gd name="T0" fmla="*/ 108 w 191"/>
                  <a:gd name="T1" fmla="*/ 0 h 354"/>
                  <a:gd name="T2" fmla="*/ 0 w 191"/>
                  <a:gd name="T3" fmla="*/ 122 h 354"/>
                  <a:gd name="T4" fmla="*/ 190 w 191"/>
                  <a:gd name="T5" fmla="*/ 353 h 354"/>
                  <a:gd name="T6" fmla="*/ 190 w 191"/>
                  <a:gd name="T7" fmla="*/ 0 h 354"/>
                  <a:gd name="T8" fmla="*/ 108 w 191"/>
                  <a:gd name="T9" fmla="*/ 0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" h="354">
                    <a:moveTo>
                      <a:pt x="108" y="0"/>
                    </a:moveTo>
                    <a:lnTo>
                      <a:pt x="0" y="122"/>
                    </a:lnTo>
                    <a:lnTo>
                      <a:pt x="190" y="353"/>
                    </a:lnTo>
                    <a:lnTo>
                      <a:pt x="190" y="0"/>
                    </a:lnTo>
                    <a:lnTo>
                      <a:pt x="108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4" name="Freeform 224"/>
              <p:cNvSpPr>
                <a:spLocks noChangeArrowheads="1"/>
              </p:cNvSpPr>
              <p:nvPr/>
            </p:nvSpPr>
            <p:spPr bwMode="auto">
              <a:xfrm>
                <a:off x="6705022" y="11348885"/>
                <a:ext cx="50167" cy="41816"/>
              </a:xfrm>
              <a:custGeom>
                <a:avLst/>
                <a:gdLst>
                  <a:gd name="T0" fmla="*/ 26 w 55"/>
                  <a:gd name="T1" fmla="*/ 0 h 42"/>
                  <a:gd name="T2" fmla="*/ 26 w 55"/>
                  <a:gd name="T3" fmla="*/ 0 h 42"/>
                  <a:gd name="T4" fmla="*/ 14 w 55"/>
                  <a:gd name="T5" fmla="*/ 0 h 42"/>
                  <a:gd name="T6" fmla="*/ 14 w 55"/>
                  <a:gd name="T7" fmla="*/ 41 h 42"/>
                  <a:gd name="T8" fmla="*/ 40 w 55"/>
                  <a:gd name="T9" fmla="*/ 28 h 42"/>
                  <a:gd name="T10" fmla="*/ 40 w 55"/>
                  <a:gd name="T11" fmla="*/ 0 h 42"/>
                  <a:gd name="T12" fmla="*/ 26 w 55"/>
                  <a:gd name="T13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5" h="42">
                    <a:moveTo>
                      <a:pt x="26" y="0"/>
                    </a:moveTo>
                    <a:lnTo>
                      <a:pt x="26" y="0"/>
                    </a:lnTo>
                    <a:lnTo>
                      <a:pt x="14" y="0"/>
                    </a:lnTo>
                    <a:cubicBezTo>
                      <a:pt x="0" y="14"/>
                      <a:pt x="14" y="28"/>
                      <a:pt x="14" y="41"/>
                    </a:cubicBezTo>
                    <a:cubicBezTo>
                      <a:pt x="26" y="41"/>
                      <a:pt x="40" y="41"/>
                      <a:pt x="40" y="28"/>
                    </a:cubicBezTo>
                    <a:cubicBezTo>
                      <a:pt x="54" y="28"/>
                      <a:pt x="54" y="14"/>
                      <a:pt x="40" y="0"/>
                    </a:cubicBezTo>
                    <a:cubicBezTo>
                      <a:pt x="40" y="0"/>
                      <a:pt x="40" y="0"/>
                      <a:pt x="26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5" name="Freeform 225"/>
              <p:cNvSpPr>
                <a:spLocks noChangeArrowheads="1"/>
              </p:cNvSpPr>
              <p:nvPr/>
            </p:nvSpPr>
            <p:spPr bwMode="auto">
              <a:xfrm>
                <a:off x="6759368" y="10976718"/>
                <a:ext cx="351166" cy="246719"/>
              </a:xfrm>
              <a:custGeom>
                <a:avLst/>
                <a:gdLst>
                  <a:gd name="T0" fmla="*/ 14 w 369"/>
                  <a:gd name="T1" fmla="*/ 135 h 259"/>
                  <a:gd name="T2" fmla="*/ 14 w 369"/>
                  <a:gd name="T3" fmla="*/ 135 h 259"/>
                  <a:gd name="T4" fmla="*/ 0 w 369"/>
                  <a:gd name="T5" fmla="*/ 177 h 259"/>
                  <a:gd name="T6" fmla="*/ 41 w 369"/>
                  <a:gd name="T7" fmla="*/ 177 h 259"/>
                  <a:gd name="T8" fmla="*/ 123 w 369"/>
                  <a:gd name="T9" fmla="*/ 109 h 259"/>
                  <a:gd name="T10" fmla="*/ 123 w 369"/>
                  <a:gd name="T11" fmla="*/ 109 h 259"/>
                  <a:gd name="T12" fmla="*/ 135 w 369"/>
                  <a:gd name="T13" fmla="*/ 109 h 259"/>
                  <a:gd name="T14" fmla="*/ 135 w 369"/>
                  <a:gd name="T15" fmla="*/ 109 h 259"/>
                  <a:gd name="T16" fmla="*/ 135 w 369"/>
                  <a:gd name="T17" fmla="*/ 109 h 259"/>
                  <a:gd name="T18" fmla="*/ 135 w 369"/>
                  <a:gd name="T19" fmla="*/ 109 h 259"/>
                  <a:gd name="T20" fmla="*/ 135 w 369"/>
                  <a:gd name="T21" fmla="*/ 109 h 259"/>
                  <a:gd name="T22" fmla="*/ 231 w 369"/>
                  <a:gd name="T23" fmla="*/ 191 h 259"/>
                  <a:gd name="T24" fmla="*/ 231 w 369"/>
                  <a:gd name="T25" fmla="*/ 191 h 259"/>
                  <a:gd name="T26" fmla="*/ 300 w 369"/>
                  <a:gd name="T27" fmla="*/ 258 h 259"/>
                  <a:gd name="T28" fmla="*/ 368 w 369"/>
                  <a:gd name="T29" fmla="*/ 203 h 259"/>
                  <a:gd name="T30" fmla="*/ 204 w 369"/>
                  <a:gd name="T31" fmla="*/ 0 h 259"/>
                  <a:gd name="T32" fmla="*/ 14 w 369"/>
                  <a:gd name="T33" fmla="*/ 135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69" h="259">
                    <a:moveTo>
                      <a:pt x="14" y="135"/>
                    </a:moveTo>
                    <a:lnTo>
                      <a:pt x="14" y="135"/>
                    </a:lnTo>
                    <a:cubicBezTo>
                      <a:pt x="0" y="135"/>
                      <a:pt x="0" y="163"/>
                      <a:pt x="0" y="177"/>
                    </a:cubicBezTo>
                    <a:cubicBezTo>
                      <a:pt x="14" y="177"/>
                      <a:pt x="41" y="177"/>
                      <a:pt x="41" y="177"/>
                    </a:cubicBezTo>
                    <a:cubicBezTo>
                      <a:pt x="55" y="163"/>
                      <a:pt x="109" y="109"/>
                      <a:pt x="123" y="109"/>
                    </a:cubicBezTo>
                    <a:lnTo>
                      <a:pt x="123" y="109"/>
                    </a:lnTo>
                    <a:cubicBezTo>
                      <a:pt x="123" y="109"/>
                      <a:pt x="123" y="109"/>
                      <a:pt x="135" y="109"/>
                    </a:cubicBezTo>
                    <a:lnTo>
                      <a:pt x="135" y="109"/>
                    </a:lnTo>
                    <a:lnTo>
                      <a:pt x="135" y="109"/>
                    </a:lnTo>
                    <a:lnTo>
                      <a:pt x="135" y="109"/>
                    </a:lnTo>
                    <a:lnTo>
                      <a:pt x="135" y="109"/>
                    </a:lnTo>
                    <a:cubicBezTo>
                      <a:pt x="231" y="191"/>
                      <a:pt x="231" y="191"/>
                      <a:pt x="231" y="191"/>
                    </a:cubicBezTo>
                    <a:lnTo>
                      <a:pt x="231" y="191"/>
                    </a:lnTo>
                    <a:cubicBezTo>
                      <a:pt x="300" y="258"/>
                      <a:pt x="300" y="258"/>
                      <a:pt x="300" y="258"/>
                    </a:cubicBezTo>
                    <a:cubicBezTo>
                      <a:pt x="368" y="203"/>
                      <a:pt x="368" y="203"/>
                      <a:pt x="368" y="203"/>
                    </a:cubicBezTo>
                    <a:cubicBezTo>
                      <a:pt x="204" y="0"/>
                      <a:pt x="204" y="0"/>
                      <a:pt x="204" y="0"/>
                    </a:cubicBezTo>
                    <a:cubicBezTo>
                      <a:pt x="177" y="13"/>
                      <a:pt x="55" y="67"/>
                      <a:pt x="14" y="135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6" name="Freeform 226"/>
              <p:cNvSpPr>
                <a:spLocks noChangeArrowheads="1"/>
              </p:cNvSpPr>
              <p:nvPr/>
            </p:nvSpPr>
            <p:spPr bwMode="auto">
              <a:xfrm>
                <a:off x="6629773" y="11001807"/>
                <a:ext cx="438957" cy="426529"/>
              </a:xfrm>
              <a:custGeom>
                <a:avLst/>
                <a:gdLst>
                  <a:gd name="T0" fmla="*/ 259 w 463"/>
                  <a:gd name="T1" fmla="*/ 108 h 450"/>
                  <a:gd name="T2" fmla="*/ 259 w 463"/>
                  <a:gd name="T3" fmla="*/ 108 h 450"/>
                  <a:gd name="T4" fmla="*/ 204 w 463"/>
                  <a:gd name="T5" fmla="*/ 164 h 450"/>
                  <a:gd name="T6" fmla="*/ 122 w 463"/>
                  <a:gd name="T7" fmla="*/ 164 h 450"/>
                  <a:gd name="T8" fmla="*/ 122 w 463"/>
                  <a:gd name="T9" fmla="*/ 94 h 450"/>
                  <a:gd name="T10" fmla="*/ 217 w 463"/>
                  <a:gd name="T11" fmla="*/ 0 h 450"/>
                  <a:gd name="T12" fmla="*/ 150 w 463"/>
                  <a:gd name="T13" fmla="*/ 13 h 450"/>
                  <a:gd name="T14" fmla="*/ 0 w 463"/>
                  <a:gd name="T15" fmla="*/ 218 h 450"/>
                  <a:gd name="T16" fmla="*/ 271 w 463"/>
                  <a:gd name="T17" fmla="*/ 449 h 450"/>
                  <a:gd name="T18" fmla="*/ 286 w 463"/>
                  <a:gd name="T19" fmla="*/ 449 h 450"/>
                  <a:gd name="T20" fmla="*/ 286 w 463"/>
                  <a:gd name="T21" fmla="*/ 449 h 450"/>
                  <a:gd name="T22" fmla="*/ 299 w 463"/>
                  <a:gd name="T23" fmla="*/ 449 h 450"/>
                  <a:gd name="T24" fmla="*/ 313 w 463"/>
                  <a:gd name="T25" fmla="*/ 435 h 450"/>
                  <a:gd name="T26" fmla="*/ 299 w 463"/>
                  <a:gd name="T27" fmla="*/ 422 h 450"/>
                  <a:gd name="T28" fmla="*/ 204 w 463"/>
                  <a:gd name="T29" fmla="*/ 339 h 450"/>
                  <a:gd name="T30" fmla="*/ 204 w 463"/>
                  <a:gd name="T31" fmla="*/ 313 h 450"/>
                  <a:gd name="T32" fmla="*/ 231 w 463"/>
                  <a:gd name="T33" fmla="*/ 313 h 450"/>
                  <a:gd name="T34" fmla="*/ 245 w 463"/>
                  <a:gd name="T35" fmla="*/ 327 h 450"/>
                  <a:gd name="T36" fmla="*/ 245 w 463"/>
                  <a:gd name="T37" fmla="*/ 327 h 450"/>
                  <a:gd name="T38" fmla="*/ 327 w 463"/>
                  <a:gd name="T39" fmla="*/ 395 h 450"/>
                  <a:gd name="T40" fmla="*/ 327 w 463"/>
                  <a:gd name="T41" fmla="*/ 395 h 450"/>
                  <a:gd name="T42" fmla="*/ 340 w 463"/>
                  <a:gd name="T43" fmla="*/ 408 h 450"/>
                  <a:gd name="T44" fmla="*/ 354 w 463"/>
                  <a:gd name="T45" fmla="*/ 408 h 450"/>
                  <a:gd name="T46" fmla="*/ 367 w 463"/>
                  <a:gd name="T47" fmla="*/ 408 h 450"/>
                  <a:gd name="T48" fmla="*/ 367 w 463"/>
                  <a:gd name="T49" fmla="*/ 381 h 450"/>
                  <a:gd name="T50" fmla="*/ 271 w 463"/>
                  <a:gd name="T51" fmla="*/ 299 h 450"/>
                  <a:gd name="T52" fmla="*/ 271 w 463"/>
                  <a:gd name="T53" fmla="*/ 272 h 450"/>
                  <a:gd name="T54" fmla="*/ 286 w 463"/>
                  <a:gd name="T55" fmla="*/ 272 h 450"/>
                  <a:gd name="T56" fmla="*/ 299 w 463"/>
                  <a:gd name="T57" fmla="*/ 285 h 450"/>
                  <a:gd name="T58" fmla="*/ 381 w 463"/>
                  <a:gd name="T59" fmla="*/ 354 h 450"/>
                  <a:gd name="T60" fmla="*/ 381 w 463"/>
                  <a:gd name="T61" fmla="*/ 367 h 450"/>
                  <a:gd name="T62" fmla="*/ 394 w 463"/>
                  <a:gd name="T63" fmla="*/ 367 h 450"/>
                  <a:gd name="T64" fmla="*/ 394 w 463"/>
                  <a:gd name="T65" fmla="*/ 367 h 450"/>
                  <a:gd name="T66" fmla="*/ 394 w 463"/>
                  <a:gd name="T67" fmla="*/ 367 h 450"/>
                  <a:gd name="T68" fmla="*/ 394 w 463"/>
                  <a:gd name="T69" fmla="*/ 367 h 450"/>
                  <a:gd name="T70" fmla="*/ 394 w 463"/>
                  <a:gd name="T71" fmla="*/ 367 h 450"/>
                  <a:gd name="T72" fmla="*/ 408 w 463"/>
                  <a:gd name="T73" fmla="*/ 354 h 450"/>
                  <a:gd name="T74" fmla="*/ 408 w 463"/>
                  <a:gd name="T75" fmla="*/ 327 h 450"/>
                  <a:gd name="T76" fmla="*/ 313 w 463"/>
                  <a:gd name="T77" fmla="*/ 245 h 450"/>
                  <a:gd name="T78" fmla="*/ 313 w 463"/>
                  <a:gd name="T79" fmla="*/ 245 h 450"/>
                  <a:gd name="T80" fmla="*/ 313 w 463"/>
                  <a:gd name="T81" fmla="*/ 245 h 450"/>
                  <a:gd name="T82" fmla="*/ 313 w 463"/>
                  <a:gd name="T83" fmla="*/ 218 h 450"/>
                  <a:gd name="T84" fmla="*/ 327 w 463"/>
                  <a:gd name="T85" fmla="*/ 218 h 450"/>
                  <a:gd name="T86" fmla="*/ 422 w 463"/>
                  <a:gd name="T87" fmla="*/ 299 h 450"/>
                  <a:gd name="T88" fmla="*/ 422 w 463"/>
                  <a:gd name="T89" fmla="*/ 299 h 450"/>
                  <a:gd name="T90" fmla="*/ 436 w 463"/>
                  <a:gd name="T91" fmla="*/ 299 h 450"/>
                  <a:gd name="T92" fmla="*/ 436 w 463"/>
                  <a:gd name="T93" fmla="*/ 299 h 450"/>
                  <a:gd name="T94" fmla="*/ 450 w 463"/>
                  <a:gd name="T95" fmla="*/ 299 h 450"/>
                  <a:gd name="T96" fmla="*/ 450 w 463"/>
                  <a:gd name="T97" fmla="*/ 272 h 450"/>
                  <a:gd name="T98" fmla="*/ 259 w 463"/>
                  <a:gd name="T99" fmla="*/ 108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63" h="450">
                    <a:moveTo>
                      <a:pt x="259" y="108"/>
                    </a:moveTo>
                    <a:lnTo>
                      <a:pt x="259" y="108"/>
                    </a:lnTo>
                    <a:cubicBezTo>
                      <a:pt x="245" y="122"/>
                      <a:pt x="217" y="136"/>
                      <a:pt x="204" y="164"/>
                    </a:cubicBezTo>
                    <a:cubicBezTo>
                      <a:pt x="177" y="190"/>
                      <a:pt x="150" y="190"/>
                      <a:pt x="122" y="164"/>
                    </a:cubicBezTo>
                    <a:cubicBezTo>
                      <a:pt x="96" y="150"/>
                      <a:pt x="108" y="108"/>
                      <a:pt x="122" y="94"/>
                    </a:cubicBezTo>
                    <a:cubicBezTo>
                      <a:pt x="136" y="54"/>
                      <a:pt x="177" y="27"/>
                      <a:pt x="217" y="0"/>
                    </a:cubicBezTo>
                    <a:cubicBezTo>
                      <a:pt x="150" y="13"/>
                      <a:pt x="150" y="13"/>
                      <a:pt x="150" y="13"/>
                    </a:cubicBezTo>
                    <a:cubicBezTo>
                      <a:pt x="0" y="218"/>
                      <a:pt x="0" y="218"/>
                      <a:pt x="0" y="218"/>
                    </a:cubicBezTo>
                    <a:cubicBezTo>
                      <a:pt x="271" y="449"/>
                      <a:pt x="271" y="449"/>
                      <a:pt x="271" y="449"/>
                    </a:cubicBezTo>
                    <a:cubicBezTo>
                      <a:pt x="286" y="449"/>
                      <a:pt x="286" y="449"/>
                      <a:pt x="286" y="449"/>
                    </a:cubicBezTo>
                    <a:lnTo>
                      <a:pt x="286" y="449"/>
                    </a:lnTo>
                    <a:cubicBezTo>
                      <a:pt x="299" y="449"/>
                      <a:pt x="299" y="449"/>
                      <a:pt x="299" y="449"/>
                    </a:cubicBezTo>
                    <a:cubicBezTo>
                      <a:pt x="313" y="435"/>
                      <a:pt x="313" y="435"/>
                      <a:pt x="313" y="435"/>
                    </a:cubicBezTo>
                    <a:cubicBezTo>
                      <a:pt x="313" y="422"/>
                      <a:pt x="313" y="422"/>
                      <a:pt x="299" y="422"/>
                    </a:cubicBezTo>
                    <a:cubicBezTo>
                      <a:pt x="204" y="339"/>
                      <a:pt x="204" y="339"/>
                      <a:pt x="204" y="339"/>
                    </a:cubicBezTo>
                    <a:cubicBezTo>
                      <a:pt x="204" y="339"/>
                      <a:pt x="204" y="327"/>
                      <a:pt x="204" y="313"/>
                    </a:cubicBezTo>
                    <a:cubicBezTo>
                      <a:pt x="217" y="313"/>
                      <a:pt x="217" y="313"/>
                      <a:pt x="231" y="313"/>
                    </a:cubicBezTo>
                    <a:cubicBezTo>
                      <a:pt x="245" y="327"/>
                      <a:pt x="245" y="327"/>
                      <a:pt x="245" y="327"/>
                    </a:cubicBezTo>
                    <a:lnTo>
                      <a:pt x="245" y="327"/>
                    </a:lnTo>
                    <a:cubicBezTo>
                      <a:pt x="327" y="395"/>
                      <a:pt x="327" y="395"/>
                      <a:pt x="327" y="395"/>
                    </a:cubicBezTo>
                    <a:lnTo>
                      <a:pt x="327" y="395"/>
                    </a:lnTo>
                    <a:cubicBezTo>
                      <a:pt x="340" y="408"/>
                      <a:pt x="340" y="408"/>
                      <a:pt x="340" y="408"/>
                    </a:cubicBezTo>
                    <a:cubicBezTo>
                      <a:pt x="340" y="408"/>
                      <a:pt x="340" y="408"/>
                      <a:pt x="354" y="408"/>
                    </a:cubicBezTo>
                    <a:cubicBezTo>
                      <a:pt x="354" y="408"/>
                      <a:pt x="354" y="408"/>
                      <a:pt x="367" y="408"/>
                    </a:cubicBezTo>
                    <a:cubicBezTo>
                      <a:pt x="367" y="395"/>
                      <a:pt x="367" y="381"/>
                      <a:pt x="367" y="381"/>
                    </a:cubicBezTo>
                    <a:cubicBezTo>
                      <a:pt x="271" y="299"/>
                      <a:pt x="271" y="299"/>
                      <a:pt x="271" y="299"/>
                    </a:cubicBezTo>
                    <a:cubicBezTo>
                      <a:pt x="259" y="285"/>
                      <a:pt x="259" y="285"/>
                      <a:pt x="271" y="272"/>
                    </a:cubicBezTo>
                    <a:lnTo>
                      <a:pt x="286" y="272"/>
                    </a:lnTo>
                    <a:cubicBezTo>
                      <a:pt x="299" y="285"/>
                      <a:pt x="299" y="285"/>
                      <a:pt x="299" y="285"/>
                    </a:cubicBezTo>
                    <a:cubicBezTo>
                      <a:pt x="381" y="354"/>
                      <a:pt x="381" y="354"/>
                      <a:pt x="381" y="354"/>
                    </a:cubicBezTo>
                    <a:cubicBezTo>
                      <a:pt x="381" y="367"/>
                      <a:pt x="381" y="367"/>
                      <a:pt x="381" y="367"/>
                    </a:cubicBezTo>
                    <a:cubicBezTo>
                      <a:pt x="394" y="367"/>
                      <a:pt x="394" y="367"/>
                      <a:pt x="394" y="367"/>
                    </a:cubicBezTo>
                    <a:lnTo>
                      <a:pt x="394" y="367"/>
                    </a:lnTo>
                    <a:lnTo>
                      <a:pt x="394" y="367"/>
                    </a:lnTo>
                    <a:lnTo>
                      <a:pt x="394" y="367"/>
                    </a:lnTo>
                    <a:lnTo>
                      <a:pt x="394" y="367"/>
                    </a:lnTo>
                    <a:cubicBezTo>
                      <a:pt x="408" y="367"/>
                      <a:pt x="408" y="354"/>
                      <a:pt x="408" y="354"/>
                    </a:cubicBezTo>
                    <a:cubicBezTo>
                      <a:pt x="422" y="339"/>
                      <a:pt x="422" y="339"/>
                      <a:pt x="408" y="327"/>
                    </a:cubicBezTo>
                    <a:cubicBezTo>
                      <a:pt x="313" y="245"/>
                      <a:pt x="313" y="245"/>
                      <a:pt x="313" y="245"/>
                    </a:cubicBezTo>
                    <a:lnTo>
                      <a:pt x="313" y="245"/>
                    </a:lnTo>
                    <a:lnTo>
                      <a:pt x="313" y="245"/>
                    </a:lnTo>
                    <a:cubicBezTo>
                      <a:pt x="299" y="231"/>
                      <a:pt x="299" y="231"/>
                      <a:pt x="313" y="218"/>
                    </a:cubicBezTo>
                    <a:lnTo>
                      <a:pt x="327" y="218"/>
                    </a:lnTo>
                    <a:cubicBezTo>
                      <a:pt x="422" y="299"/>
                      <a:pt x="422" y="299"/>
                      <a:pt x="422" y="299"/>
                    </a:cubicBezTo>
                    <a:lnTo>
                      <a:pt x="422" y="299"/>
                    </a:lnTo>
                    <a:lnTo>
                      <a:pt x="436" y="299"/>
                    </a:lnTo>
                    <a:lnTo>
                      <a:pt x="436" y="299"/>
                    </a:lnTo>
                    <a:lnTo>
                      <a:pt x="450" y="299"/>
                    </a:lnTo>
                    <a:cubicBezTo>
                      <a:pt x="462" y="285"/>
                      <a:pt x="450" y="272"/>
                      <a:pt x="450" y="272"/>
                    </a:cubicBezTo>
                    <a:lnTo>
                      <a:pt x="259" y="108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7" name="Freeform 227"/>
              <p:cNvSpPr>
                <a:spLocks noChangeArrowheads="1"/>
              </p:cNvSpPr>
              <p:nvPr/>
            </p:nvSpPr>
            <p:spPr bwMode="auto">
              <a:xfrm>
                <a:off x="6759368" y="11390700"/>
                <a:ext cx="54349" cy="50180"/>
              </a:xfrm>
              <a:custGeom>
                <a:avLst/>
                <a:gdLst>
                  <a:gd name="T0" fmla="*/ 27 w 56"/>
                  <a:gd name="T1" fmla="*/ 0 h 55"/>
                  <a:gd name="T2" fmla="*/ 27 w 56"/>
                  <a:gd name="T3" fmla="*/ 0 h 55"/>
                  <a:gd name="T4" fmla="*/ 14 w 56"/>
                  <a:gd name="T5" fmla="*/ 14 h 55"/>
                  <a:gd name="T6" fmla="*/ 14 w 56"/>
                  <a:gd name="T7" fmla="*/ 41 h 55"/>
                  <a:gd name="T8" fmla="*/ 41 w 56"/>
                  <a:gd name="T9" fmla="*/ 41 h 55"/>
                  <a:gd name="T10" fmla="*/ 41 w 56"/>
                  <a:gd name="T11" fmla="*/ 0 h 55"/>
                  <a:gd name="T12" fmla="*/ 27 w 56"/>
                  <a:gd name="T1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55">
                    <a:moveTo>
                      <a:pt x="27" y="0"/>
                    </a:moveTo>
                    <a:lnTo>
                      <a:pt x="27" y="0"/>
                    </a:lnTo>
                    <a:cubicBezTo>
                      <a:pt x="27" y="0"/>
                      <a:pt x="14" y="0"/>
                      <a:pt x="14" y="14"/>
                    </a:cubicBezTo>
                    <a:cubicBezTo>
                      <a:pt x="0" y="14"/>
                      <a:pt x="14" y="27"/>
                      <a:pt x="14" y="41"/>
                    </a:cubicBezTo>
                    <a:cubicBezTo>
                      <a:pt x="27" y="54"/>
                      <a:pt x="41" y="41"/>
                      <a:pt x="41" y="41"/>
                    </a:cubicBezTo>
                    <a:cubicBezTo>
                      <a:pt x="55" y="27"/>
                      <a:pt x="55" y="14"/>
                      <a:pt x="41" y="0"/>
                    </a:cubicBezTo>
                    <a:cubicBezTo>
                      <a:pt x="41" y="0"/>
                      <a:pt x="41" y="0"/>
                      <a:pt x="27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8" name="Freeform 228"/>
              <p:cNvSpPr>
                <a:spLocks noChangeArrowheads="1"/>
              </p:cNvSpPr>
              <p:nvPr/>
            </p:nvSpPr>
            <p:spPr bwMode="auto">
              <a:xfrm>
                <a:off x="6901508" y="11453424"/>
                <a:ext cx="4181" cy="4184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bevel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</p:grpSp>
        <p:grpSp>
          <p:nvGrpSpPr>
            <p:cNvPr id="23" name="Group 77"/>
            <p:cNvGrpSpPr/>
            <p:nvPr/>
          </p:nvGrpSpPr>
          <p:grpSpPr>
            <a:xfrm>
              <a:off x="17960356" y="9740260"/>
              <a:ext cx="845450" cy="756950"/>
              <a:chOff x="13222514" y="10847085"/>
              <a:chExt cx="635447" cy="568706"/>
            </a:xfrm>
            <a:solidFill>
              <a:srgbClr val="FFFFFF"/>
            </a:solidFill>
          </p:grpSpPr>
          <p:sp>
            <p:nvSpPr>
              <p:cNvPr id="27" name="Freeform 245"/>
              <p:cNvSpPr>
                <a:spLocks noChangeArrowheads="1"/>
              </p:cNvSpPr>
              <p:nvPr/>
            </p:nvSpPr>
            <p:spPr bwMode="auto">
              <a:xfrm>
                <a:off x="13276865" y="11323795"/>
                <a:ext cx="41805" cy="41816"/>
              </a:xfrm>
              <a:custGeom>
                <a:avLst/>
                <a:gdLst>
                  <a:gd name="T0" fmla="*/ 14 w 42"/>
                  <a:gd name="T1" fmla="*/ 42 h 43"/>
                  <a:gd name="T2" fmla="*/ 14 w 42"/>
                  <a:gd name="T3" fmla="*/ 42 h 43"/>
                  <a:gd name="T4" fmla="*/ 41 w 42"/>
                  <a:gd name="T5" fmla="*/ 28 h 43"/>
                  <a:gd name="T6" fmla="*/ 14 w 42"/>
                  <a:gd name="T7" fmla="*/ 0 h 43"/>
                  <a:gd name="T8" fmla="*/ 0 w 42"/>
                  <a:gd name="T9" fmla="*/ 28 h 43"/>
                  <a:gd name="T10" fmla="*/ 14 w 42"/>
                  <a:gd name="T11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43">
                    <a:moveTo>
                      <a:pt x="14" y="42"/>
                    </a:moveTo>
                    <a:lnTo>
                      <a:pt x="14" y="42"/>
                    </a:lnTo>
                    <a:cubicBezTo>
                      <a:pt x="28" y="42"/>
                      <a:pt x="41" y="42"/>
                      <a:pt x="41" y="28"/>
                    </a:cubicBezTo>
                    <a:cubicBezTo>
                      <a:pt x="41" y="15"/>
                      <a:pt x="28" y="0"/>
                      <a:pt x="14" y="0"/>
                    </a:cubicBezTo>
                    <a:cubicBezTo>
                      <a:pt x="14" y="0"/>
                      <a:pt x="0" y="15"/>
                      <a:pt x="0" y="28"/>
                    </a:cubicBezTo>
                    <a:cubicBezTo>
                      <a:pt x="0" y="42"/>
                      <a:pt x="14" y="42"/>
                      <a:pt x="14" y="42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28" name="Freeform 246"/>
              <p:cNvSpPr>
                <a:spLocks noChangeArrowheads="1"/>
              </p:cNvSpPr>
              <p:nvPr/>
            </p:nvSpPr>
            <p:spPr bwMode="auto">
              <a:xfrm>
                <a:off x="13222514" y="11068713"/>
                <a:ext cx="167223" cy="347078"/>
              </a:xfrm>
              <a:custGeom>
                <a:avLst/>
                <a:gdLst>
                  <a:gd name="T0" fmla="*/ 0 w 177"/>
                  <a:gd name="T1" fmla="*/ 367 h 368"/>
                  <a:gd name="T2" fmla="*/ 0 w 177"/>
                  <a:gd name="T3" fmla="*/ 367 h 368"/>
                  <a:gd name="T4" fmla="*/ 176 w 177"/>
                  <a:gd name="T5" fmla="*/ 367 h 368"/>
                  <a:gd name="T6" fmla="*/ 176 w 177"/>
                  <a:gd name="T7" fmla="*/ 0 h 368"/>
                  <a:gd name="T8" fmla="*/ 0 w 177"/>
                  <a:gd name="T9" fmla="*/ 0 h 368"/>
                  <a:gd name="T10" fmla="*/ 0 w 177"/>
                  <a:gd name="T11" fmla="*/ 367 h 368"/>
                  <a:gd name="T12" fmla="*/ 95 w 177"/>
                  <a:gd name="T13" fmla="*/ 26 h 368"/>
                  <a:gd name="T14" fmla="*/ 95 w 177"/>
                  <a:gd name="T15" fmla="*/ 26 h 368"/>
                  <a:gd name="T16" fmla="*/ 122 w 177"/>
                  <a:gd name="T17" fmla="*/ 26 h 368"/>
                  <a:gd name="T18" fmla="*/ 122 w 177"/>
                  <a:gd name="T19" fmla="*/ 231 h 368"/>
                  <a:gd name="T20" fmla="*/ 95 w 177"/>
                  <a:gd name="T21" fmla="*/ 231 h 368"/>
                  <a:gd name="T22" fmla="*/ 95 w 177"/>
                  <a:gd name="T23" fmla="*/ 26 h 368"/>
                  <a:gd name="T24" fmla="*/ 68 w 177"/>
                  <a:gd name="T25" fmla="*/ 245 h 368"/>
                  <a:gd name="T26" fmla="*/ 68 w 177"/>
                  <a:gd name="T27" fmla="*/ 245 h 368"/>
                  <a:gd name="T28" fmla="*/ 122 w 177"/>
                  <a:gd name="T29" fmla="*/ 299 h 368"/>
                  <a:gd name="T30" fmla="*/ 68 w 177"/>
                  <a:gd name="T31" fmla="*/ 340 h 368"/>
                  <a:gd name="T32" fmla="*/ 27 w 177"/>
                  <a:gd name="T33" fmla="*/ 299 h 368"/>
                  <a:gd name="T34" fmla="*/ 68 w 177"/>
                  <a:gd name="T35" fmla="*/ 245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7" h="368">
                    <a:moveTo>
                      <a:pt x="0" y="367"/>
                    </a:moveTo>
                    <a:lnTo>
                      <a:pt x="0" y="367"/>
                    </a:lnTo>
                    <a:cubicBezTo>
                      <a:pt x="176" y="367"/>
                      <a:pt x="176" y="367"/>
                      <a:pt x="176" y="367"/>
                    </a:cubicBezTo>
                    <a:cubicBezTo>
                      <a:pt x="176" y="0"/>
                      <a:pt x="176" y="0"/>
                      <a:pt x="176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367"/>
                    </a:lnTo>
                    <a:close/>
                    <a:moveTo>
                      <a:pt x="95" y="26"/>
                    </a:moveTo>
                    <a:lnTo>
                      <a:pt x="95" y="26"/>
                    </a:lnTo>
                    <a:cubicBezTo>
                      <a:pt x="122" y="26"/>
                      <a:pt x="122" y="26"/>
                      <a:pt x="122" y="26"/>
                    </a:cubicBezTo>
                    <a:cubicBezTo>
                      <a:pt x="122" y="231"/>
                      <a:pt x="122" y="231"/>
                      <a:pt x="122" y="231"/>
                    </a:cubicBezTo>
                    <a:cubicBezTo>
                      <a:pt x="95" y="231"/>
                      <a:pt x="95" y="231"/>
                      <a:pt x="95" y="231"/>
                    </a:cubicBezTo>
                    <a:lnTo>
                      <a:pt x="95" y="26"/>
                    </a:lnTo>
                    <a:close/>
                    <a:moveTo>
                      <a:pt x="68" y="245"/>
                    </a:moveTo>
                    <a:lnTo>
                      <a:pt x="68" y="245"/>
                    </a:lnTo>
                    <a:cubicBezTo>
                      <a:pt x="95" y="245"/>
                      <a:pt x="122" y="271"/>
                      <a:pt x="122" y="299"/>
                    </a:cubicBezTo>
                    <a:cubicBezTo>
                      <a:pt x="122" y="327"/>
                      <a:pt x="95" y="340"/>
                      <a:pt x="68" y="340"/>
                    </a:cubicBezTo>
                    <a:cubicBezTo>
                      <a:pt x="41" y="340"/>
                      <a:pt x="27" y="327"/>
                      <a:pt x="27" y="299"/>
                    </a:cubicBezTo>
                    <a:cubicBezTo>
                      <a:pt x="27" y="271"/>
                      <a:pt x="41" y="245"/>
                      <a:pt x="68" y="245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29" name="Freeform 247"/>
              <p:cNvSpPr>
                <a:spLocks noChangeArrowheads="1"/>
              </p:cNvSpPr>
              <p:nvPr/>
            </p:nvSpPr>
            <p:spPr bwMode="auto">
              <a:xfrm>
                <a:off x="13419004" y="10847085"/>
                <a:ext cx="438957" cy="518524"/>
              </a:xfrm>
              <a:custGeom>
                <a:avLst/>
                <a:gdLst>
                  <a:gd name="T0" fmla="*/ 436 w 464"/>
                  <a:gd name="T1" fmla="*/ 300 h 546"/>
                  <a:gd name="T2" fmla="*/ 436 w 464"/>
                  <a:gd name="T3" fmla="*/ 300 h 546"/>
                  <a:gd name="T4" fmla="*/ 463 w 464"/>
                  <a:gd name="T5" fmla="*/ 258 h 546"/>
                  <a:gd name="T6" fmla="*/ 408 w 464"/>
                  <a:gd name="T7" fmla="*/ 218 h 546"/>
                  <a:gd name="T8" fmla="*/ 314 w 464"/>
                  <a:gd name="T9" fmla="*/ 218 h 546"/>
                  <a:gd name="T10" fmla="*/ 394 w 464"/>
                  <a:gd name="T11" fmla="*/ 95 h 546"/>
                  <a:gd name="T12" fmla="*/ 382 w 464"/>
                  <a:gd name="T13" fmla="*/ 27 h 546"/>
                  <a:gd name="T14" fmla="*/ 326 w 464"/>
                  <a:gd name="T15" fmla="*/ 0 h 546"/>
                  <a:gd name="T16" fmla="*/ 326 w 464"/>
                  <a:gd name="T17" fmla="*/ 0 h 546"/>
                  <a:gd name="T18" fmla="*/ 326 w 464"/>
                  <a:gd name="T19" fmla="*/ 0 h 546"/>
                  <a:gd name="T20" fmla="*/ 218 w 464"/>
                  <a:gd name="T21" fmla="*/ 123 h 546"/>
                  <a:gd name="T22" fmla="*/ 41 w 464"/>
                  <a:gd name="T23" fmla="*/ 272 h 546"/>
                  <a:gd name="T24" fmla="*/ 0 w 464"/>
                  <a:gd name="T25" fmla="*/ 272 h 546"/>
                  <a:gd name="T26" fmla="*/ 0 w 464"/>
                  <a:gd name="T27" fmla="*/ 518 h 546"/>
                  <a:gd name="T28" fmla="*/ 0 w 464"/>
                  <a:gd name="T29" fmla="*/ 518 h 546"/>
                  <a:gd name="T30" fmla="*/ 14 w 464"/>
                  <a:gd name="T31" fmla="*/ 518 h 546"/>
                  <a:gd name="T32" fmla="*/ 81 w 464"/>
                  <a:gd name="T33" fmla="*/ 531 h 546"/>
                  <a:gd name="T34" fmla="*/ 135 w 464"/>
                  <a:gd name="T35" fmla="*/ 545 h 546"/>
                  <a:gd name="T36" fmla="*/ 231 w 464"/>
                  <a:gd name="T37" fmla="*/ 531 h 546"/>
                  <a:gd name="T38" fmla="*/ 368 w 464"/>
                  <a:gd name="T39" fmla="*/ 531 h 546"/>
                  <a:gd name="T40" fmla="*/ 408 w 464"/>
                  <a:gd name="T41" fmla="*/ 491 h 546"/>
                  <a:gd name="T42" fmla="*/ 394 w 464"/>
                  <a:gd name="T43" fmla="*/ 449 h 546"/>
                  <a:gd name="T44" fmla="*/ 394 w 464"/>
                  <a:gd name="T45" fmla="*/ 449 h 546"/>
                  <a:gd name="T46" fmla="*/ 449 w 464"/>
                  <a:gd name="T47" fmla="*/ 409 h 546"/>
                  <a:gd name="T48" fmla="*/ 422 w 464"/>
                  <a:gd name="T49" fmla="*/ 382 h 546"/>
                  <a:gd name="T50" fmla="*/ 463 w 464"/>
                  <a:gd name="T51" fmla="*/ 328 h 546"/>
                  <a:gd name="T52" fmla="*/ 436 w 464"/>
                  <a:gd name="T53" fmla="*/ 300 h 546"/>
                  <a:gd name="T54" fmla="*/ 204 w 464"/>
                  <a:gd name="T55" fmla="*/ 204 h 546"/>
                  <a:gd name="T56" fmla="*/ 204 w 464"/>
                  <a:gd name="T57" fmla="*/ 204 h 546"/>
                  <a:gd name="T58" fmla="*/ 123 w 464"/>
                  <a:gd name="T59" fmla="*/ 300 h 546"/>
                  <a:gd name="T60" fmla="*/ 109 w 464"/>
                  <a:gd name="T61" fmla="*/ 314 h 546"/>
                  <a:gd name="T62" fmla="*/ 109 w 464"/>
                  <a:gd name="T63" fmla="*/ 314 h 546"/>
                  <a:gd name="T64" fmla="*/ 95 w 464"/>
                  <a:gd name="T65" fmla="*/ 286 h 546"/>
                  <a:gd name="T66" fmla="*/ 191 w 464"/>
                  <a:gd name="T67" fmla="*/ 191 h 546"/>
                  <a:gd name="T68" fmla="*/ 218 w 464"/>
                  <a:gd name="T69" fmla="*/ 191 h 546"/>
                  <a:gd name="T70" fmla="*/ 204 w 464"/>
                  <a:gd name="T71" fmla="*/ 204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64" h="546">
                    <a:moveTo>
                      <a:pt x="436" y="300"/>
                    </a:moveTo>
                    <a:lnTo>
                      <a:pt x="436" y="300"/>
                    </a:lnTo>
                    <a:cubicBezTo>
                      <a:pt x="449" y="286"/>
                      <a:pt x="463" y="272"/>
                      <a:pt x="463" y="258"/>
                    </a:cubicBezTo>
                    <a:cubicBezTo>
                      <a:pt x="463" y="232"/>
                      <a:pt x="436" y="218"/>
                      <a:pt x="408" y="218"/>
                    </a:cubicBezTo>
                    <a:cubicBezTo>
                      <a:pt x="314" y="218"/>
                      <a:pt x="314" y="218"/>
                      <a:pt x="314" y="218"/>
                    </a:cubicBezTo>
                    <a:cubicBezTo>
                      <a:pt x="340" y="191"/>
                      <a:pt x="382" y="150"/>
                      <a:pt x="394" y="95"/>
                    </a:cubicBezTo>
                    <a:cubicBezTo>
                      <a:pt x="394" y="69"/>
                      <a:pt x="394" y="41"/>
                      <a:pt x="382" y="27"/>
                    </a:cubicBezTo>
                    <a:cubicBezTo>
                      <a:pt x="368" y="0"/>
                      <a:pt x="326" y="0"/>
                      <a:pt x="326" y="0"/>
                    </a:cubicBezTo>
                    <a:lnTo>
                      <a:pt x="326" y="0"/>
                    </a:lnTo>
                    <a:lnTo>
                      <a:pt x="326" y="0"/>
                    </a:lnTo>
                    <a:cubicBezTo>
                      <a:pt x="326" y="27"/>
                      <a:pt x="314" y="69"/>
                      <a:pt x="218" y="123"/>
                    </a:cubicBezTo>
                    <a:cubicBezTo>
                      <a:pt x="123" y="191"/>
                      <a:pt x="55" y="258"/>
                      <a:pt x="41" y="272"/>
                    </a:cubicBezTo>
                    <a:cubicBezTo>
                      <a:pt x="0" y="272"/>
                      <a:pt x="0" y="272"/>
                      <a:pt x="0" y="272"/>
                    </a:cubicBezTo>
                    <a:cubicBezTo>
                      <a:pt x="0" y="518"/>
                      <a:pt x="0" y="518"/>
                      <a:pt x="0" y="518"/>
                    </a:cubicBezTo>
                    <a:lnTo>
                      <a:pt x="0" y="518"/>
                    </a:lnTo>
                    <a:cubicBezTo>
                      <a:pt x="0" y="518"/>
                      <a:pt x="0" y="518"/>
                      <a:pt x="14" y="518"/>
                    </a:cubicBezTo>
                    <a:cubicBezTo>
                      <a:pt x="27" y="518"/>
                      <a:pt x="55" y="518"/>
                      <a:pt x="81" y="531"/>
                    </a:cubicBezTo>
                    <a:cubicBezTo>
                      <a:pt x="95" y="531"/>
                      <a:pt x="109" y="545"/>
                      <a:pt x="135" y="545"/>
                    </a:cubicBezTo>
                    <a:cubicBezTo>
                      <a:pt x="177" y="545"/>
                      <a:pt x="231" y="531"/>
                      <a:pt x="231" y="531"/>
                    </a:cubicBezTo>
                    <a:cubicBezTo>
                      <a:pt x="368" y="531"/>
                      <a:pt x="368" y="531"/>
                      <a:pt x="368" y="531"/>
                    </a:cubicBezTo>
                    <a:cubicBezTo>
                      <a:pt x="394" y="531"/>
                      <a:pt x="408" y="518"/>
                      <a:pt x="408" y="491"/>
                    </a:cubicBezTo>
                    <a:cubicBezTo>
                      <a:pt x="408" y="477"/>
                      <a:pt x="408" y="463"/>
                      <a:pt x="394" y="449"/>
                    </a:cubicBezTo>
                    <a:lnTo>
                      <a:pt x="394" y="449"/>
                    </a:lnTo>
                    <a:cubicBezTo>
                      <a:pt x="422" y="449"/>
                      <a:pt x="449" y="436"/>
                      <a:pt x="449" y="409"/>
                    </a:cubicBezTo>
                    <a:cubicBezTo>
                      <a:pt x="449" y="395"/>
                      <a:pt x="436" y="382"/>
                      <a:pt x="422" y="382"/>
                    </a:cubicBezTo>
                    <a:cubicBezTo>
                      <a:pt x="449" y="368"/>
                      <a:pt x="463" y="354"/>
                      <a:pt x="463" y="328"/>
                    </a:cubicBezTo>
                    <a:cubicBezTo>
                      <a:pt x="463" y="314"/>
                      <a:pt x="449" y="300"/>
                      <a:pt x="436" y="300"/>
                    </a:cubicBezTo>
                    <a:close/>
                    <a:moveTo>
                      <a:pt x="204" y="204"/>
                    </a:moveTo>
                    <a:lnTo>
                      <a:pt x="204" y="204"/>
                    </a:lnTo>
                    <a:cubicBezTo>
                      <a:pt x="163" y="246"/>
                      <a:pt x="123" y="300"/>
                      <a:pt x="123" y="300"/>
                    </a:cubicBezTo>
                    <a:cubicBezTo>
                      <a:pt x="123" y="314"/>
                      <a:pt x="123" y="314"/>
                      <a:pt x="109" y="314"/>
                    </a:cubicBezTo>
                    <a:lnTo>
                      <a:pt x="109" y="314"/>
                    </a:lnTo>
                    <a:cubicBezTo>
                      <a:pt x="95" y="300"/>
                      <a:pt x="95" y="300"/>
                      <a:pt x="95" y="286"/>
                    </a:cubicBezTo>
                    <a:cubicBezTo>
                      <a:pt x="95" y="286"/>
                      <a:pt x="135" y="218"/>
                      <a:pt x="191" y="191"/>
                    </a:cubicBezTo>
                    <a:cubicBezTo>
                      <a:pt x="204" y="177"/>
                      <a:pt x="218" y="191"/>
                      <a:pt x="218" y="191"/>
                    </a:cubicBezTo>
                    <a:cubicBezTo>
                      <a:pt x="218" y="204"/>
                      <a:pt x="218" y="204"/>
                      <a:pt x="204" y="204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</p:grpSp>
        <p:grpSp>
          <p:nvGrpSpPr>
            <p:cNvPr id="24" name="Group 81"/>
            <p:cNvGrpSpPr/>
            <p:nvPr/>
          </p:nvGrpSpPr>
          <p:grpSpPr>
            <a:xfrm>
              <a:off x="22833930" y="9704084"/>
              <a:ext cx="823198" cy="829298"/>
              <a:chOff x="15935700" y="10788544"/>
              <a:chExt cx="618722" cy="623064"/>
            </a:xfrm>
            <a:solidFill>
              <a:srgbClr val="FFFFFF"/>
            </a:solidFill>
          </p:grpSpPr>
          <p:sp>
            <p:nvSpPr>
              <p:cNvPr id="25" name="Freeform 584"/>
              <p:cNvSpPr>
                <a:spLocks noChangeArrowheads="1"/>
              </p:cNvSpPr>
              <p:nvPr/>
            </p:nvSpPr>
            <p:spPr bwMode="auto">
              <a:xfrm>
                <a:off x="15935700" y="10788544"/>
                <a:ext cx="618722" cy="623064"/>
              </a:xfrm>
              <a:custGeom>
                <a:avLst/>
                <a:gdLst>
                  <a:gd name="T0" fmla="*/ 641 w 654"/>
                  <a:gd name="T1" fmla="*/ 258 h 655"/>
                  <a:gd name="T2" fmla="*/ 341 w 654"/>
                  <a:gd name="T3" fmla="*/ 13 h 655"/>
                  <a:gd name="T4" fmla="*/ 68 w 654"/>
                  <a:gd name="T5" fmla="*/ 258 h 655"/>
                  <a:gd name="T6" fmla="*/ 0 w 654"/>
                  <a:gd name="T7" fmla="*/ 258 h 655"/>
                  <a:gd name="T8" fmla="*/ 0 w 654"/>
                  <a:gd name="T9" fmla="*/ 654 h 655"/>
                  <a:gd name="T10" fmla="*/ 653 w 654"/>
                  <a:gd name="T11" fmla="*/ 654 h 655"/>
                  <a:gd name="T12" fmla="*/ 641 w 654"/>
                  <a:gd name="T13" fmla="*/ 258 h 655"/>
                  <a:gd name="T14" fmla="*/ 327 w 654"/>
                  <a:gd name="T15" fmla="*/ 55 h 655"/>
                  <a:gd name="T16" fmla="*/ 122 w 654"/>
                  <a:gd name="T17" fmla="*/ 258 h 655"/>
                  <a:gd name="T18" fmla="*/ 96 w 654"/>
                  <a:gd name="T19" fmla="*/ 558 h 655"/>
                  <a:gd name="T20" fmla="*/ 54 w 654"/>
                  <a:gd name="T21" fmla="*/ 545 h 655"/>
                  <a:gd name="T22" fmla="*/ 110 w 654"/>
                  <a:gd name="T23" fmla="*/ 545 h 655"/>
                  <a:gd name="T24" fmla="*/ 110 w 654"/>
                  <a:gd name="T25" fmla="*/ 477 h 655"/>
                  <a:gd name="T26" fmla="*/ 122 w 654"/>
                  <a:gd name="T27" fmla="*/ 381 h 655"/>
                  <a:gd name="T28" fmla="*/ 150 w 654"/>
                  <a:gd name="T29" fmla="*/ 409 h 655"/>
                  <a:gd name="T30" fmla="*/ 82 w 654"/>
                  <a:gd name="T31" fmla="*/ 422 h 655"/>
                  <a:gd name="T32" fmla="*/ 164 w 654"/>
                  <a:gd name="T33" fmla="*/ 504 h 655"/>
                  <a:gd name="T34" fmla="*/ 313 w 654"/>
                  <a:gd name="T35" fmla="*/ 558 h 655"/>
                  <a:gd name="T36" fmla="*/ 287 w 654"/>
                  <a:gd name="T37" fmla="*/ 504 h 655"/>
                  <a:gd name="T38" fmla="*/ 205 w 654"/>
                  <a:gd name="T39" fmla="*/ 558 h 655"/>
                  <a:gd name="T40" fmla="*/ 245 w 654"/>
                  <a:gd name="T41" fmla="*/ 381 h 655"/>
                  <a:gd name="T42" fmla="*/ 341 w 654"/>
                  <a:gd name="T43" fmla="*/ 558 h 655"/>
                  <a:gd name="T44" fmla="*/ 462 w 654"/>
                  <a:gd name="T45" fmla="*/ 558 h 655"/>
                  <a:gd name="T46" fmla="*/ 368 w 654"/>
                  <a:gd name="T47" fmla="*/ 558 h 655"/>
                  <a:gd name="T48" fmla="*/ 382 w 654"/>
                  <a:gd name="T49" fmla="*/ 381 h 655"/>
                  <a:gd name="T50" fmla="*/ 462 w 654"/>
                  <a:gd name="T51" fmla="*/ 545 h 655"/>
                  <a:gd name="T52" fmla="*/ 585 w 654"/>
                  <a:gd name="T53" fmla="*/ 558 h 655"/>
                  <a:gd name="T54" fmla="*/ 490 w 654"/>
                  <a:gd name="T55" fmla="*/ 558 h 655"/>
                  <a:gd name="T56" fmla="*/ 585 w 654"/>
                  <a:gd name="T57" fmla="*/ 381 h 655"/>
                  <a:gd name="T58" fmla="*/ 518 w 654"/>
                  <a:gd name="T59" fmla="*/ 395 h 655"/>
                  <a:gd name="T60" fmla="*/ 585 w 654"/>
                  <a:gd name="T61" fmla="*/ 449 h 655"/>
                  <a:gd name="T62" fmla="*/ 518 w 654"/>
                  <a:gd name="T63" fmla="*/ 477 h 655"/>
                  <a:gd name="T64" fmla="*/ 585 w 654"/>
                  <a:gd name="T65" fmla="*/ 545 h 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54" h="655">
                    <a:moveTo>
                      <a:pt x="641" y="258"/>
                    </a:moveTo>
                    <a:lnTo>
                      <a:pt x="641" y="258"/>
                    </a:lnTo>
                    <a:cubicBezTo>
                      <a:pt x="585" y="258"/>
                      <a:pt x="585" y="258"/>
                      <a:pt x="585" y="258"/>
                    </a:cubicBezTo>
                    <a:cubicBezTo>
                      <a:pt x="341" y="13"/>
                      <a:pt x="341" y="13"/>
                      <a:pt x="341" y="13"/>
                    </a:cubicBezTo>
                    <a:cubicBezTo>
                      <a:pt x="327" y="0"/>
                      <a:pt x="313" y="0"/>
                      <a:pt x="313" y="13"/>
                    </a:cubicBezTo>
                    <a:cubicBezTo>
                      <a:pt x="68" y="258"/>
                      <a:pt x="68" y="258"/>
                      <a:pt x="68" y="258"/>
                    </a:cubicBezTo>
                    <a:cubicBezTo>
                      <a:pt x="0" y="258"/>
                      <a:pt x="0" y="258"/>
                      <a:pt x="0" y="258"/>
                    </a:cubicBezTo>
                    <a:lnTo>
                      <a:pt x="0" y="258"/>
                    </a:lnTo>
                    <a:cubicBezTo>
                      <a:pt x="0" y="654"/>
                      <a:pt x="0" y="654"/>
                      <a:pt x="0" y="654"/>
                    </a:cubicBezTo>
                    <a:lnTo>
                      <a:pt x="0" y="654"/>
                    </a:lnTo>
                    <a:cubicBezTo>
                      <a:pt x="641" y="654"/>
                      <a:pt x="641" y="654"/>
                      <a:pt x="641" y="654"/>
                    </a:cubicBezTo>
                    <a:cubicBezTo>
                      <a:pt x="653" y="654"/>
                      <a:pt x="653" y="654"/>
                      <a:pt x="653" y="654"/>
                    </a:cubicBezTo>
                    <a:cubicBezTo>
                      <a:pt x="653" y="258"/>
                      <a:pt x="653" y="258"/>
                      <a:pt x="653" y="258"/>
                    </a:cubicBezTo>
                    <a:cubicBezTo>
                      <a:pt x="653" y="258"/>
                      <a:pt x="653" y="258"/>
                      <a:pt x="641" y="258"/>
                    </a:cubicBezTo>
                    <a:close/>
                    <a:moveTo>
                      <a:pt x="327" y="55"/>
                    </a:moveTo>
                    <a:lnTo>
                      <a:pt x="327" y="55"/>
                    </a:lnTo>
                    <a:cubicBezTo>
                      <a:pt x="518" y="258"/>
                      <a:pt x="518" y="258"/>
                      <a:pt x="518" y="258"/>
                    </a:cubicBezTo>
                    <a:cubicBezTo>
                      <a:pt x="122" y="258"/>
                      <a:pt x="122" y="258"/>
                      <a:pt x="122" y="258"/>
                    </a:cubicBezTo>
                    <a:lnTo>
                      <a:pt x="327" y="55"/>
                    </a:lnTo>
                    <a:close/>
                    <a:moveTo>
                      <a:pt x="96" y="558"/>
                    </a:moveTo>
                    <a:lnTo>
                      <a:pt x="96" y="558"/>
                    </a:lnTo>
                    <a:cubicBezTo>
                      <a:pt x="82" y="558"/>
                      <a:pt x="68" y="558"/>
                      <a:pt x="54" y="545"/>
                    </a:cubicBezTo>
                    <a:cubicBezTo>
                      <a:pt x="68" y="531"/>
                      <a:pt x="68" y="531"/>
                      <a:pt x="68" y="531"/>
                    </a:cubicBezTo>
                    <a:cubicBezTo>
                      <a:pt x="68" y="531"/>
                      <a:pt x="82" y="545"/>
                      <a:pt x="110" y="545"/>
                    </a:cubicBezTo>
                    <a:cubicBezTo>
                      <a:pt x="122" y="545"/>
                      <a:pt x="136" y="531"/>
                      <a:pt x="136" y="517"/>
                    </a:cubicBezTo>
                    <a:cubicBezTo>
                      <a:pt x="136" y="489"/>
                      <a:pt x="136" y="489"/>
                      <a:pt x="110" y="477"/>
                    </a:cubicBezTo>
                    <a:cubicBezTo>
                      <a:pt x="82" y="463"/>
                      <a:pt x="54" y="449"/>
                      <a:pt x="54" y="422"/>
                    </a:cubicBezTo>
                    <a:cubicBezTo>
                      <a:pt x="54" y="395"/>
                      <a:pt x="82" y="381"/>
                      <a:pt x="122" y="381"/>
                    </a:cubicBezTo>
                    <a:cubicBezTo>
                      <a:pt x="136" y="381"/>
                      <a:pt x="150" y="381"/>
                      <a:pt x="164" y="381"/>
                    </a:cubicBezTo>
                    <a:cubicBezTo>
                      <a:pt x="150" y="409"/>
                      <a:pt x="150" y="409"/>
                      <a:pt x="150" y="409"/>
                    </a:cubicBezTo>
                    <a:cubicBezTo>
                      <a:pt x="150" y="395"/>
                      <a:pt x="136" y="395"/>
                      <a:pt x="122" y="395"/>
                    </a:cubicBezTo>
                    <a:cubicBezTo>
                      <a:pt x="96" y="395"/>
                      <a:pt x="82" y="409"/>
                      <a:pt x="82" y="422"/>
                    </a:cubicBezTo>
                    <a:cubicBezTo>
                      <a:pt x="82" y="435"/>
                      <a:pt x="96" y="449"/>
                      <a:pt x="122" y="449"/>
                    </a:cubicBezTo>
                    <a:cubicBezTo>
                      <a:pt x="150" y="463"/>
                      <a:pt x="164" y="477"/>
                      <a:pt x="164" y="504"/>
                    </a:cubicBezTo>
                    <a:cubicBezTo>
                      <a:pt x="164" y="531"/>
                      <a:pt x="150" y="558"/>
                      <a:pt x="96" y="558"/>
                    </a:cubicBezTo>
                    <a:close/>
                    <a:moveTo>
                      <a:pt x="313" y="558"/>
                    </a:moveTo>
                    <a:lnTo>
                      <a:pt x="313" y="558"/>
                    </a:lnTo>
                    <a:cubicBezTo>
                      <a:pt x="287" y="504"/>
                      <a:pt x="287" y="504"/>
                      <a:pt x="287" y="504"/>
                    </a:cubicBezTo>
                    <a:cubicBezTo>
                      <a:pt x="231" y="504"/>
                      <a:pt x="231" y="504"/>
                      <a:pt x="231" y="504"/>
                    </a:cubicBezTo>
                    <a:cubicBezTo>
                      <a:pt x="205" y="558"/>
                      <a:pt x="205" y="558"/>
                      <a:pt x="205" y="558"/>
                    </a:cubicBezTo>
                    <a:cubicBezTo>
                      <a:pt x="177" y="558"/>
                      <a:pt x="177" y="558"/>
                      <a:pt x="177" y="558"/>
                    </a:cubicBezTo>
                    <a:cubicBezTo>
                      <a:pt x="245" y="381"/>
                      <a:pt x="245" y="381"/>
                      <a:pt x="245" y="381"/>
                    </a:cubicBezTo>
                    <a:cubicBezTo>
                      <a:pt x="273" y="381"/>
                      <a:pt x="273" y="381"/>
                      <a:pt x="273" y="381"/>
                    </a:cubicBezTo>
                    <a:cubicBezTo>
                      <a:pt x="341" y="558"/>
                      <a:pt x="341" y="558"/>
                      <a:pt x="341" y="558"/>
                    </a:cubicBezTo>
                    <a:lnTo>
                      <a:pt x="313" y="558"/>
                    </a:lnTo>
                    <a:close/>
                    <a:moveTo>
                      <a:pt x="462" y="558"/>
                    </a:moveTo>
                    <a:lnTo>
                      <a:pt x="462" y="558"/>
                    </a:lnTo>
                    <a:cubicBezTo>
                      <a:pt x="368" y="558"/>
                      <a:pt x="368" y="558"/>
                      <a:pt x="368" y="558"/>
                    </a:cubicBezTo>
                    <a:cubicBezTo>
                      <a:pt x="368" y="381"/>
                      <a:pt x="368" y="381"/>
                      <a:pt x="368" y="381"/>
                    </a:cubicBezTo>
                    <a:cubicBezTo>
                      <a:pt x="382" y="381"/>
                      <a:pt x="382" y="381"/>
                      <a:pt x="382" y="381"/>
                    </a:cubicBezTo>
                    <a:cubicBezTo>
                      <a:pt x="382" y="545"/>
                      <a:pt x="382" y="545"/>
                      <a:pt x="382" y="545"/>
                    </a:cubicBezTo>
                    <a:cubicBezTo>
                      <a:pt x="462" y="545"/>
                      <a:pt x="462" y="545"/>
                      <a:pt x="462" y="545"/>
                    </a:cubicBezTo>
                    <a:lnTo>
                      <a:pt x="462" y="558"/>
                    </a:lnTo>
                    <a:close/>
                    <a:moveTo>
                      <a:pt x="585" y="558"/>
                    </a:moveTo>
                    <a:lnTo>
                      <a:pt x="585" y="558"/>
                    </a:lnTo>
                    <a:cubicBezTo>
                      <a:pt x="490" y="558"/>
                      <a:pt x="490" y="558"/>
                      <a:pt x="490" y="558"/>
                    </a:cubicBezTo>
                    <a:cubicBezTo>
                      <a:pt x="490" y="381"/>
                      <a:pt x="490" y="381"/>
                      <a:pt x="490" y="381"/>
                    </a:cubicBezTo>
                    <a:cubicBezTo>
                      <a:pt x="585" y="381"/>
                      <a:pt x="585" y="381"/>
                      <a:pt x="585" y="381"/>
                    </a:cubicBezTo>
                    <a:cubicBezTo>
                      <a:pt x="585" y="395"/>
                      <a:pt x="585" y="395"/>
                      <a:pt x="585" y="395"/>
                    </a:cubicBezTo>
                    <a:cubicBezTo>
                      <a:pt x="518" y="395"/>
                      <a:pt x="518" y="395"/>
                      <a:pt x="518" y="395"/>
                    </a:cubicBezTo>
                    <a:cubicBezTo>
                      <a:pt x="518" y="449"/>
                      <a:pt x="518" y="449"/>
                      <a:pt x="518" y="449"/>
                    </a:cubicBezTo>
                    <a:cubicBezTo>
                      <a:pt x="585" y="449"/>
                      <a:pt x="585" y="449"/>
                      <a:pt x="585" y="449"/>
                    </a:cubicBezTo>
                    <a:cubicBezTo>
                      <a:pt x="585" y="477"/>
                      <a:pt x="585" y="477"/>
                      <a:pt x="585" y="477"/>
                    </a:cubicBezTo>
                    <a:cubicBezTo>
                      <a:pt x="518" y="477"/>
                      <a:pt x="518" y="477"/>
                      <a:pt x="518" y="477"/>
                    </a:cubicBezTo>
                    <a:cubicBezTo>
                      <a:pt x="518" y="545"/>
                      <a:pt x="518" y="545"/>
                      <a:pt x="518" y="545"/>
                    </a:cubicBezTo>
                    <a:cubicBezTo>
                      <a:pt x="585" y="545"/>
                      <a:pt x="585" y="545"/>
                      <a:pt x="585" y="545"/>
                    </a:cubicBezTo>
                    <a:lnTo>
                      <a:pt x="585" y="558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26" name="Freeform 585"/>
              <p:cNvSpPr>
                <a:spLocks noChangeArrowheads="1"/>
              </p:cNvSpPr>
              <p:nvPr/>
            </p:nvSpPr>
            <p:spPr bwMode="auto">
              <a:xfrm>
                <a:off x="16153089" y="11160709"/>
                <a:ext cx="54346" cy="79454"/>
              </a:xfrm>
              <a:custGeom>
                <a:avLst/>
                <a:gdLst>
                  <a:gd name="T0" fmla="*/ 28 w 57"/>
                  <a:gd name="T1" fmla="*/ 0 h 83"/>
                  <a:gd name="T2" fmla="*/ 28 w 57"/>
                  <a:gd name="T3" fmla="*/ 0 h 83"/>
                  <a:gd name="T4" fmla="*/ 28 w 57"/>
                  <a:gd name="T5" fmla="*/ 0 h 83"/>
                  <a:gd name="T6" fmla="*/ 14 w 57"/>
                  <a:gd name="T7" fmla="*/ 40 h 83"/>
                  <a:gd name="T8" fmla="*/ 0 w 57"/>
                  <a:gd name="T9" fmla="*/ 82 h 83"/>
                  <a:gd name="T10" fmla="*/ 56 w 57"/>
                  <a:gd name="T11" fmla="*/ 82 h 83"/>
                  <a:gd name="T12" fmla="*/ 42 w 57"/>
                  <a:gd name="T13" fmla="*/ 40 h 83"/>
                  <a:gd name="T14" fmla="*/ 28 w 57"/>
                  <a:gd name="T15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" h="83">
                    <a:moveTo>
                      <a:pt x="28" y="0"/>
                    </a:moveTo>
                    <a:lnTo>
                      <a:pt x="28" y="0"/>
                    </a:lnTo>
                    <a:lnTo>
                      <a:pt x="28" y="0"/>
                    </a:lnTo>
                    <a:cubicBezTo>
                      <a:pt x="28" y="14"/>
                      <a:pt x="28" y="27"/>
                      <a:pt x="14" y="40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56" y="82"/>
                      <a:pt x="56" y="82"/>
                      <a:pt x="56" y="82"/>
                    </a:cubicBezTo>
                    <a:cubicBezTo>
                      <a:pt x="42" y="40"/>
                      <a:pt x="42" y="40"/>
                      <a:pt x="42" y="40"/>
                    </a:cubicBezTo>
                    <a:cubicBezTo>
                      <a:pt x="28" y="27"/>
                      <a:pt x="28" y="14"/>
                      <a:pt x="28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五边形 1"/>
          <p:cNvSpPr/>
          <p:nvPr userDrawn="1"/>
        </p:nvSpPr>
        <p:spPr>
          <a:xfrm>
            <a:off x="0" y="0"/>
            <a:ext cx="3867807" cy="6858000"/>
          </a:xfrm>
          <a:prstGeom prst="homePlate">
            <a:avLst>
              <a:gd name="adj" fmla="val 17328"/>
            </a:avLst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4800" b="1" spc="300" dirty="0" smtClean="0">
                <a:latin typeface="+mj-ea"/>
                <a:ea typeface="+mj-ea"/>
              </a:rPr>
              <a:t>目 录</a:t>
            </a:r>
            <a:endParaRPr lang="en-US" altLang="zh-CN" sz="4800" b="1" spc="300" dirty="0" smtClean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</a:pPr>
            <a:r>
              <a:rPr lang="en-US" altLang="zh-CN" sz="4800" b="1" spc="300" dirty="0" smtClean="0">
                <a:ea typeface="+mj-ea"/>
              </a:rPr>
              <a:t>Content</a:t>
            </a:r>
            <a:endParaRPr lang="zh-CN" altLang="en-US" sz="4800" b="1" spc="300" dirty="0"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796" y="798"/>
          <a:ext cx="793" cy="7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6" y="798"/>
                        <a:ext cx="793" cy="7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圆角矩形 18"/>
          <p:cNvSpPr/>
          <p:nvPr userDrawn="1"/>
        </p:nvSpPr>
        <p:spPr>
          <a:xfrm rot="2654918">
            <a:off x="2701997" y="2766830"/>
            <a:ext cx="1195641" cy="1195641"/>
          </a:xfrm>
          <a:prstGeom prst="roundRect">
            <a:avLst>
              <a:gd name="adj" fmla="val 15499"/>
            </a:avLst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斜纹 19"/>
          <p:cNvSpPr/>
          <p:nvPr userDrawn="1"/>
        </p:nvSpPr>
        <p:spPr>
          <a:xfrm>
            <a:off x="0" y="442762"/>
            <a:ext cx="1520792" cy="1568918"/>
          </a:xfrm>
          <a:prstGeom prst="diagStripe">
            <a:avLst>
              <a:gd name="adj" fmla="val 88131"/>
            </a:avLst>
          </a:prstGeom>
          <a:gradFill flip="none" rotWithShape="1">
            <a:gsLst>
              <a:gs pos="0">
                <a:srgbClr val="B7CC3E">
                  <a:tint val="66000"/>
                  <a:satMod val="160000"/>
                </a:srgbClr>
              </a:gs>
              <a:gs pos="50000">
                <a:srgbClr val="B7CC3E">
                  <a:tint val="44500"/>
                  <a:satMod val="160000"/>
                </a:srgbClr>
              </a:gs>
              <a:gs pos="100000">
                <a:srgbClr val="B7CC3E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1" name="斜纹 20"/>
          <p:cNvSpPr/>
          <p:nvPr userDrawn="1"/>
        </p:nvSpPr>
        <p:spPr>
          <a:xfrm>
            <a:off x="760396" y="0"/>
            <a:ext cx="1520792" cy="1568918"/>
          </a:xfrm>
          <a:prstGeom prst="diagStripe">
            <a:avLst>
              <a:gd name="adj" fmla="val 88131"/>
            </a:avLst>
          </a:prstGeom>
          <a:gradFill flip="none" rotWithShape="1">
            <a:gsLst>
              <a:gs pos="0">
                <a:srgbClr val="B7CC3E">
                  <a:tint val="66000"/>
                  <a:satMod val="160000"/>
                </a:srgbClr>
              </a:gs>
              <a:gs pos="50000">
                <a:srgbClr val="B7CC3E">
                  <a:tint val="44500"/>
                  <a:satMod val="160000"/>
                </a:srgbClr>
              </a:gs>
              <a:gs pos="100000">
                <a:srgbClr val="B7CC3E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5" name="斜纹 24"/>
          <p:cNvSpPr/>
          <p:nvPr userDrawn="1"/>
        </p:nvSpPr>
        <p:spPr>
          <a:xfrm flipV="1">
            <a:off x="0" y="5119611"/>
            <a:ext cx="1763028" cy="1568918"/>
          </a:xfrm>
          <a:prstGeom prst="diagStripe">
            <a:avLst>
              <a:gd name="adj" fmla="val 88131"/>
            </a:avLst>
          </a:prstGeom>
          <a:gradFill flip="none" rotWithShape="1">
            <a:gsLst>
              <a:gs pos="0">
                <a:srgbClr val="B7CC3E">
                  <a:tint val="66000"/>
                  <a:satMod val="160000"/>
                </a:srgbClr>
              </a:gs>
              <a:gs pos="50000">
                <a:srgbClr val="B7CC3E">
                  <a:tint val="44500"/>
                  <a:satMod val="160000"/>
                </a:srgbClr>
              </a:gs>
              <a:gs pos="100000">
                <a:srgbClr val="B7CC3E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6" name="斜纹 25"/>
          <p:cNvSpPr/>
          <p:nvPr userDrawn="1"/>
        </p:nvSpPr>
        <p:spPr>
          <a:xfrm flipV="1">
            <a:off x="518160" y="5289082"/>
            <a:ext cx="1763028" cy="1568918"/>
          </a:xfrm>
          <a:prstGeom prst="diagStripe">
            <a:avLst>
              <a:gd name="adj" fmla="val 88131"/>
            </a:avLst>
          </a:prstGeom>
          <a:gradFill flip="none" rotWithShape="1">
            <a:gsLst>
              <a:gs pos="0">
                <a:srgbClr val="B7CC3E">
                  <a:tint val="66000"/>
                  <a:satMod val="160000"/>
                </a:srgbClr>
              </a:gs>
              <a:gs pos="50000">
                <a:srgbClr val="B7CC3E">
                  <a:tint val="44500"/>
                  <a:satMod val="160000"/>
                </a:srgbClr>
              </a:gs>
              <a:gs pos="100000">
                <a:srgbClr val="B7CC3E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796" y="798"/>
          <a:ext cx="793" cy="7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6" y="798"/>
                        <a:ext cx="793" cy="7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/>
          <p:cNvSpPr/>
          <p:nvPr userDrawn="1"/>
        </p:nvSpPr>
        <p:spPr>
          <a:xfrm>
            <a:off x="0" y="185738"/>
            <a:ext cx="481263" cy="603534"/>
          </a:xfrm>
          <a:prstGeom prst="rect">
            <a:avLst/>
          </a:prstGeom>
          <a:solidFill>
            <a:srgbClr val="B7CC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482291" y="3465094"/>
            <a:ext cx="9294029" cy="117909"/>
            <a:chOff x="566555" y="877035"/>
            <a:chExt cx="2340260" cy="164545"/>
          </a:xfrm>
        </p:grpSpPr>
        <p:sp>
          <p:nvSpPr>
            <p:cNvPr id="6" name="矩形 5"/>
            <p:cNvSpPr/>
            <p:nvPr/>
          </p:nvSpPr>
          <p:spPr>
            <a:xfrm>
              <a:off x="566555" y="877035"/>
              <a:ext cx="585065" cy="164545"/>
            </a:xfrm>
            <a:prstGeom prst="rect">
              <a:avLst/>
            </a:prstGeom>
            <a:solidFill>
              <a:srgbClr val="1B61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矩形 6"/>
            <p:cNvSpPr/>
            <p:nvPr/>
          </p:nvSpPr>
          <p:spPr>
            <a:xfrm>
              <a:off x="1151620" y="877035"/>
              <a:ext cx="585065" cy="164545"/>
            </a:xfrm>
            <a:prstGeom prst="rect">
              <a:avLst/>
            </a:prstGeom>
            <a:solidFill>
              <a:srgbClr val="B7CC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/>
            <p:cNvSpPr/>
            <p:nvPr/>
          </p:nvSpPr>
          <p:spPr>
            <a:xfrm>
              <a:off x="1736685" y="877035"/>
              <a:ext cx="585065" cy="164545"/>
            </a:xfrm>
            <a:prstGeom prst="rect">
              <a:avLst/>
            </a:prstGeom>
            <a:solidFill>
              <a:srgbClr val="70AC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/>
            <p:cNvSpPr/>
            <p:nvPr/>
          </p:nvSpPr>
          <p:spPr>
            <a:xfrm>
              <a:off x="2321750" y="877035"/>
              <a:ext cx="585065" cy="164545"/>
            </a:xfrm>
            <a:prstGeom prst="rect">
              <a:avLst/>
            </a:prstGeom>
            <a:solidFill>
              <a:srgbClr val="4E5A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5F815B-D2A8-49AA-98EB-8D2DDA0D8F1E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864A25-9965-4F61-8E8F-250006C6D194}" type="slidenum">
              <a:rPr lang="zh-CN" altLang="en-US" smtClean="0"/>
            </a:fld>
            <a:endParaRPr lang="zh-CN" altLang="en-US"/>
          </a:p>
        </p:txBody>
      </p:sp>
      <p:sp>
        <p:nvSpPr>
          <p:cNvPr id="8" name="TextBox 5"/>
          <p:cNvSpPr txBox="1"/>
          <p:nvPr userDrawn="1"/>
        </p:nvSpPr>
        <p:spPr>
          <a:xfrm>
            <a:off x="4635416" y="6543698"/>
            <a:ext cx="2775096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altLang="zh-CN" sz="1200" dirty="0" smtClean="0">
                <a:solidFill>
                  <a:schemeClr val="accent3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Internal</a:t>
            </a:r>
            <a:r>
              <a:rPr lang="en-US" altLang="zh-CN" sz="1200" baseline="0" dirty="0" smtClean="0">
                <a:solidFill>
                  <a:schemeClr val="accent3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 use – confidential </a:t>
            </a:r>
            <a:endParaRPr lang="zh-CN" altLang="en-US" sz="1200" dirty="0" smtClean="0">
              <a:solidFill>
                <a:schemeClr val="accent3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pic>
        <p:nvPicPr>
          <p:cNvPr id="7" name="图片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0295" y="6084446"/>
            <a:ext cx="1411705" cy="717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tags" Target="../tags/tag6.xml"/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882867" y="1450436"/>
            <a:ext cx="10447282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6600" b="1" dirty="0" smtClean="0">
                <a:solidFill>
                  <a:srgbClr val="4E5A62"/>
                </a:solidFill>
                <a:latin typeface="+mj-ea"/>
                <a:ea typeface="+mj-ea"/>
              </a:rPr>
              <a:t>Situational </a:t>
            </a:r>
            <a:r>
              <a:rPr lang="en-US" altLang="zh-CN" sz="6600" b="1" dirty="0" smtClean="0">
                <a:solidFill>
                  <a:srgbClr val="4E5A62"/>
                </a:solidFill>
                <a:latin typeface="+mj-ea"/>
                <a:ea typeface="+mj-ea"/>
              </a:rPr>
              <a:t>D</a:t>
            </a:r>
            <a:r>
              <a:rPr lang="zh-CN" altLang="en-US" sz="6600" b="1" dirty="0" smtClean="0">
                <a:solidFill>
                  <a:srgbClr val="4E5A62"/>
                </a:solidFill>
                <a:latin typeface="+mj-ea"/>
                <a:ea typeface="+mj-ea"/>
              </a:rPr>
              <a:t>ialogue </a:t>
            </a:r>
            <a:r>
              <a:rPr lang="en-US" altLang="zh-CN" sz="6600" b="1" dirty="0" smtClean="0">
                <a:solidFill>
                  <a:srgbClr val="4E5A62"/>
                </a:solidFill>
                <a:latin typeface="+mj-ea"/>
                <a:ea typeface="+mj-ea"/>
              </a:rPr>
              <a:t>S</a:t>
            </a:r>
            <a:r>
              <a:rPr lang="zh-CN" altLang="en-US" sz="6600" b="1" dirty="0" smtClean="0">
                <a:solidFill>
                  <a:srgbClr val="4E5A62"/>
                </a:solidFill>
                <a:latin typeface="+mj-ea"/>
                <a:ea typeface="+mj-ea"/>
              </a:rPr>
              <a:t>poken English </a:t>
            </a:r>
            <a:r>
              <a:rPr lang="en-US" altLang="zh-CN" sz="6600" b="1" dirty="0" smtClean="0">
                <a:solidFill>
                  <a:srgbClr val="4E5A62"/>
                </a:solidFill>
                <a:latin typeface="+mj-ea"/>
                <a:ea typeface="+mj-ea"/>
              </a:rPr>
              <a:t>T</a:t>
            </a:r>
            <a:r>
              <a:rPr lang="zh-CN" altLang="en-US" sz="6600" b="1" dirty="0" smtClean="0">
                <a:solidFill>
                  <a:srgbClr val="4E5A62"/>
                </a:solidFill>
                <a:latin typeface="+mj-ea"/>
                <a:ea typeface="+mj-ea"/>
              </a:rPr>
              <a:t>raining</a:t>
            </a:r>
            <a:endParaRPr lang="zh-CN" altLang="en-US" sz="6600" b="1" dirty="0" smtClean="0">
              <a:solidFill>
                <a:srgbClr val="4E5A62"/>
              </a:solidFill>
              <a:latin typeface="+mj-ea"/>
              <a:ea typeface="+mj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8397765" y="4971392"/>
            <a:ext cx="3584027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 smtClean="0">
                <a:solidFill>
                  <a:srgbClr val="4E5A62"/>
                </a:solidFill>
              </a:rPr>
              <a:t>制作单位：电子工程处</a:t>
            </a:r>
            <a:endParaRPr lang="en-US" altLang="zh-CN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4E5A62"/>
                </a:solidFill>
              </a:rPr>
              <a:t>发布</a:t>
            </a:r>
            <a:r>
              <a:rPr lang="zh-CN" altLang="en-US" dirty="0" smtClean="0">
                <a:solidFill>
                  <a:srgbClr val="4E5A62"/>
                </a:solidFill>
              </a:rPr>
              <a:t>日期：</a:t>
            </a:r>
            <a:r>
              <a:rPr lang="en-US" altLang="zh-CN" dirty="0" smtClean="0">
                <a:solidFill>
                  <a:srgbClr val="4E5A62"/>
                </a:solidFill>
              </a:rPr>
              <a:t>2020.12.24</a:t>
            </a:r>
            <a:endParaRPr lang="en-US" altLang="zh-CN" dirty="0" smtClean="0">
              <a:solidFill>
                <a:srgbClr val="4E5A6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--Watching TV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62305" y="1021715"/>
            <a:ext cx="6264910" cy="5923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Jessica</a:t>
            </a:r>
            <a:r>
              <a:rPr lang="zh-CN" altLang="en-US" sz="1400" i="1" dirty="0" smtClean="0">
                <a:solidFill>
                  <a:srgbClr val="4E5A62"/>
                </a:solidFill>
              </a:rPr>
              <a:t>、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John</a:t>
            </a:r>
            <a:endParaRPr lang="en-US" altLang="zh-CN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How are you felling,John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？</a:t>
            </a:r>
            <a:endParaRPr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Much better,thanks.I've been resting all day,only with the television as my companion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What did you watch toda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I started with some game shows this morning.I really enjoy them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And next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At 2 o'clock.I switched to Channel 6 and watchd news.</a:t>
            </a:r>
            <a:endParaRPr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Anything important happened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？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A bank was robbed this afternoon.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430135" y="2142490"/>
            <a:ext cx="4121150" cy="306641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4903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20433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--Saving Money</a:t>
            </a:r>
            <a:endParaRPr lang="en-US" altLang="zh-CN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96595" y="742315"/>
            <a:ext cx="6232525" cy="5507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Mary</a:t>
            </a:r>
            <a:r>
              <a:rPr lang="zh-CN" altLang="en-US" sz="1400" i="1" dirty="0" smtClean="0">
                <a:solidFill>
                  <a:srgbClr val="4E5A62"/>
                </a:solidFill>
              </a:rPr>
              <a:t>、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Kevin</a:t>
            </a:r>
            <a:endParaRPr lang="en-US" altLang="zh-CN" sz="1400" i="1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We need to start saving money for a </a:t>
            </a:r>
            <a:r>
              <a:rPr lang="en-US" altLang="zh-CN" sz="2000" dirty="0" smtClean="0">
                <a:solidFill>
                  <a:srgbClr val="FF0000"/>
                </a:solidFill>
              </a:rPr>
              <a:t>rainy day.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Yeah,I know,but we still need to live too.I don't want to work just to save.</a:t>
            </a:r>
            <a:endParaRPr 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Well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</a:t>
            </a:r>
            <a:r>
              <a:rPr lang="en-US" sz="2000" dirty="0" smtClean="0">
                <a:solidFill>
                  <a:schemeClr val="accent3">
                    <a:lumMod val="50000"/>
                  </a:schemeClr>
                </a:solidFill>
              </a:rPr>
              <a:t>we can save 20% of all our earnings and put it in the bank.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20% sounds too high.How about 10%?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If we start saving and keeping it in the bank now,we'll have enough money to retire comfortably.</a:t>
            </a:r>
            <a:endParaRPr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In the long run,sounds great.</a:t>
            </a:r>
            <a:endParaRPr lang="zh-CN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zh-CN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Let's take action next week.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All right.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008620" y="1700530"/>
            <a:ext cx="2691130" cy="3083560"/>
          </a:xfrm>
          <a:prstGeom prst="rect">
            <a:avLst/>
          </a:prstGeom>
        </p:spPr>
      </p:pic>
      <p:sp>
        <p:nvSpPr>
          <p:cNvPr id="2" name="椭圆形标注 1"/>
          <p:cNvSpPr/>
          <p:nvPr/>
        </p:nvSpPr>
        <p:spPr>
          <a:xfrm>
            <a:off x="6727825" y="742315"/>
            <a:ext cx="1927225" cy="638810"/>
          </a:xfrm>
          <a:prstGeom prst="wedgeEllipseCallout">
            <a:avLst>
              <a:gd name="adj1" fmla="val -62257"/>
              <a:gd name="adj2" fmla="val 71471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600">
                <a:solidFill>
                  <a:srgbClr val="FF0000"/>
                </a:solidFill>
              </a:rPr>
              <a:t>雨天；穷困时期</a:t>
            </a:r>
            <a:endParaRPr lang="zh-CN" altLang="en-US" sz="1600">
              <a:solidFill>
                <a:srgbClr val="FF000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5223642" y="2448911"/>
            <a:ext cx="18004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600" b="1" dirty="0" smtClean="0">
                <a:solidFill>
                  <a:srgbClr val="4E5A62"/>
                </a:solidFill>
              </a:rPr>
              <a:t>Thanks</a:t>
            </a:r>
            <a:endParaRPr lang="zh-CN" altLang="en-US" sz="3600" b="1" dirty="0">
              <a:solidFill>
                <a:srgbClr val="4E5A6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val 16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32526" y="1221549"/>
            <a:ext cx="539148" cy="533156"/>
          </a:xfrm>
          <a:prstGeom prst="ellipse">
            <a:avLst/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972" rIns="0" bIns="47972" rtlCol="0" anchor="ctr"/>
          <a:lstStyle/>
          <a:p>
            <a:pPr algn="ctr" defTabSz="121793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 dirty="0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1</a:t>
            </a:r>
            <a:endParaRPr lang="en-US" altLang="ko-KR" sz="2000" b="1" dirty="0">
              <a:solidFill>
                <a:srgbClr val="FFFFFF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5" name="Oval 16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232526" y="2381706"/>
            <a:ext cx="539148" cy="533156"/>
          </a:xfrm>
          <a:prstGeom prst="ellipse">
            <a:avLst/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972" rIns="0" bIns="47972" rtlCol="0" anchor="ctr"/>
          <a:lstStyle/>
          <a:p>
            <a:pPr algn="ctr" defTabSz="121793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 dirty="0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2</a:t>
            </a:r>
            <a:endParaRPr lang="en-US" altLang="ko-KR" sz="2000" b="1" dirty="0">
              <a:solidFill>
                <a:srgbClr val="FFFFFF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6" name="Oval 16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232526" y="3562883"/>
            <a:ext cx="539148" cy="533156"/>
          </a:xfrm>
          <a:prstGeom prst="ellipse">
            <a:avLst/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972" rIns="0" bIns="47972" rtlCol="0" anchor="ctr"/>
          <a:lstStyle/>
          <a:p>
            <a:pPr algn="ctr" defTabSz="121793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 dirty="0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</a:t>
            </a:r>
            <a:endParaRPr lang="en-US" altLang="ko-KR" sz="2000" b="1" dirty="0">
              <a:solidFill>
                <a:srgbClr val="FFFFFF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7" name="Oval 16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232526" y="4744061"/>
            <a:ext cx="539148" cy="533156"/>
          </a:xfrm>
          <a:prstGeom prst="ellipse">
            <a:avLst/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972" rIns="0" bIns="47972" rtlCol="0" anchor="ctr"/>
          <a:lstStyle/>
          <a:p>
            <a:pPr algn="ctr" defTabSz="121793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</a:t>
            </a:r>
            <a:endParaRPr lang="en-US" altLang="ko-KR" sz="2000" b="1">
              <a:solidFill>
                <a:srgbClr val="FFFFFF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6285187" y="1097775"/>
            <a:ext cx="3563008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 smtClean="0">
                <a:solidFill>
                  <a:srgbClr val="4E5A62"/>
                </a:solidFill>
              </a:rPr>
              <a:t>情景模拟</a:t>
            </a:r>
            <a:r>
              <a:rPr lang="en-US" altLang="zh-CN" sz="2800" dirty="0" smtClean="0">
                <a:solidFill>
                  <a:srgbClr val="4E5A62"/>
                </a:solidFill>
              </a:rPr>
              <a:t>1--Bedtime</a:t>
            </a:r>
            <a:endParaRPr lang="en-US" altLang="zh-CN" sz="2800" dirty="0" smtClean="0">
              <a:solidFill>
                <a:srgbClr val="4E5A62"/>
              </a:solidFill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6285230" y="2279015"/>
            <a:ext cx="4166870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>
                <a:solidFill>
                  <a:srgbClr val="4E5A62"/>
                </a:solidFill>
              </a:rPr>
              <a:t>情景模拟</a:t>
            </a:r>
            <a:r>
              <a:rPr lang="en-US" altLang="zh-CN" sz="2800" dirty="0">
                <a:solidFill>
                  <a:srgbClr val="4E5A62"/>
                </a:solidFill>
              </a:rPr>
              <a:t>2--At the Bar</a:t>
            </a:r>
            <a:endParaRPr lang="en-US" altLang="zh-CN" sz="2800" dirty="0">
              <a:solidFill>
                <a:srgbClr val="4E5A62"/>
              </a:solidFill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6285230" y="3460115"/>
            <a:ext cx="4644390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>
                <a:solidFill>
                  <a:srgbClr val="4E5A62"/>
                </a:solidFill>
              </a:rPr>
              <a:t>情景模拟</a:t>
            </a:r>
            <a:r>
              <a:rPr lang="en-US" altLang="zh-CN" sz="2800" dirty="0">
                <a:solidFill>
                  <a:srgbClr val="4E5A62"/>
                </a:solidFill>
              </a:rPr>
              <a:t>3--Watching TV</a:t>
            </a:r>
            <a:endParaRPr lang="en-US" altLang="zh-CN" sz="2800" dirty="0">
              <a:solidFill>
                <a:srgbClr val="4E5A62"/>
              </a:solidFill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6285230" y="4641215"/>
            <a:ext cx="4644390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>
                <a:solidFill>
                  <a:srgbClr val="4E5A62"/>
                </a:solidFill>
              </a:rPr>
              <a:t>情景模拟</a:t>
            </a:r>
            <a:r>
              <a:rPr lang="en-US" altLang="zh-CN" sz="2800" dirty="0">
                <a:solidFill>
                  <a:srgbClr val="4E5A62"/>
                </a:solidFill>
              </a:rPr>
              <a:t>4--Save money</a:t>
            </a:r>
            <a:endParaRPr lang="en-US" altLang="zh-CN" sz="2800" dirty="0">
              <a:solidFill>
                <a:srgbClr val="4E5A6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6755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1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--Bedtime</a:t>
            </a:r>
            <a:endParaRPr lang="en-US" altLang="zh-CN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742161" y="753351"/>
            <a:ext cx="7788165" cy="4631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Jimmy,Mary</a:t>
            </a:r>
            <a:endParaRPr lang="en-US" altLang="zh-CN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是时候睡觉了。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但是我不困，我能再看会电视吗？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现在都已经过了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11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点了，你明天还要上班呢。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是的，我知道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如果你今晚睡得不好的话，明天一整天你都会犯困的。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好吧，我估计是的。或许我现在就应该去睡觉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zh-CN" sz="2000" dirty="0" smtClean="0">
                <a:solidFill>
                  <a:schemeClr val="accent3">
                    <a:lumMod val="50000"/>
                  </a:schemeClr>
                </a:solidFill>
                <a:sym typeface="+mn-ea"/>
              </a:rPr>
              <a:t>好想法，晚安做个好梦。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Marr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晚安，明早见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297545" y="1529080"/>
            <a:ext cx="3124200" cy="282892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2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--At the bar</a:t>
            </a:r>
            <a:endParaRPr lang="en-US" altLang="zh-CN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96595" y="753110"/>
            <a:ext cx="6101080" cy="4939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顾客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Tom&amp;Lisa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这真是一个很棒的酒吧。可真热闹啊！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是的。来这儿真是一个好想法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你想坐在哪里呢？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靠窗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Oh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</a:t>
            </a:r>
            <a:r>
              <a:rPr lang="zh-CN" altLang="en-US" sz="2000" dirty="0" smtClean="0">
                <a:solidFill>
                  <a:srgbClr val="FF0000"/>
                </a:solidFill>
              </a:rPr>
              <a:t>英雄所见略同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。我也是这么想的。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让我们先弄点喝的吧，哇唔，这里有多种多样的饮品。你想喝那种？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呃，请给我一点时间。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好的，等你确定了我就叫服务员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408670" y="1813560"/>
            <a:ext cx="2611755" cy="349631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--Watching TV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62305" y="1021715"/>
            <a:ext cx="6264910" cy="5307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Jessica</a:t>
            </a:r>
            <a:r>
              <a:rPr lang="zh-CN" altLang="en-US" sz="1400" i="1" dirty="0" smtClean="0">
                <a:solidFill>
                  <a:srgbClr val="4E5A62"/>
                </a:solidFill>
              </a:rPr>
              <a:t>、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John</a:t>
            </a:r>
            <a:endParaRPr lang="en-US" altLang="zh-CN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感觉怎么样，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？</a:t>
            </a:r>
            <a:endParaRPr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好多了，谢谢。我一整天都在休息。只有电视机和我作伴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你今天看什么了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我早上先是看了游戏节目，我真的很喜欢看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然后呢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zh-CN" sz="2000" dirty="0" smtClean="0">
                <a:solidFill>
                  <a:schemeClr val="accent6">
                    <a:lumMod val="50000"/>
                  </a:schemeClr>
                </a:solidFill>
              </a:rPr>
              <a:t>在下午两点时，我换到了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6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台看新闻</a:t>
            </a:r>
            <a:r>
              <a:rPr lang="zh-CN" sz="2000" dirty="0" smtClean="0">
                <a:solidFill>
                  <a:schemeClr val="accent6">
                    <a:lumMod val="50000"/>
                  </a:schemeClr>
                </a:solidFill>
              </a:rPr>
              <a:t>。</a:t>
            </a:r>
            <a:endParaRPr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有什么重要的事情发生吗？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一个银行今天下午被抢劫了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430135" y="2142490"/>
            <a:ext cx="4121150" cy="306641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4903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20433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--Saving Money</a:t>
            </a:r>
            <a:endParaRPr lang="en-US" altLang="zh-CN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96595" y="742315"/>
            <a:ext cx="6232525" cy="5615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Mary</a:t>
            </a:r>
            <a:r>
              <a:rPr lang="zh-CN" altLang="en-US" sz="1400" i="1" dirty="0" smtClean="0">
                <a:solidFill>
                  <a:srgbClr val="4E5A62"/>
                </a:solidFill>
              </a:rPr>
              <a:t>、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Kevin</a:t>
            </a:r>
            <a:endParaRPr lang="en-US" altLang="zh-CN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我们应该开始存钱以备不时之需。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zh-CN" sz="2000" dirty="0" smtClean="0">
                <a:solidFill>
                  <a:schemeClr val="accent6">
                    <a:lumMod val="50000"/>
                  </a:schemeClr>
                </a:solidFill>
              </a:rPr>
              <a:t>是的，我知道，但是我们也是要生活的呀。我不想只为了存钱而工作。</a:t>
            </a:r>
            <a:endParaRPr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好吧，我们可以存储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20%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的收入并放到银行里。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20%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听起来太高了，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10%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怎么样？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zh-CN" sz="2000" dirty="0" smtClean="0">
                <a:solidFill>
                  <a:schemeClr val="accent3">
                    <a:lumMod val="50000"/>
                  </a:schemeClr>
                </a:solidFill>
              </a:rPr>
              <a:t>如果我们现在开始存钱在银行，我们将会有足够的前来舒服得退休。</a:t>
            </a:r>
            <a:endParaRPr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长远来看，听起来不错</a:t>
            </a:r>
            <a:r>
              <a:rPr lang="zh-CN" sz="2000" dirty="0" smtClean="0">
                <a:solidFill>
                  <a:schemeClr val="accent6">
                    <a:lumMod val="50000"/>
                  </a:schemeClr>
                </a:solidFill>
              </a:rPr>
              <a:t>。</a:t>
            </a:r>
            <a:endParaRPr lang="zh-CN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zh-CN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那我们下周就开始行动吧。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好的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008620" y="1700530"/>
            <a:ext cx="2691130" cy="30835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214650" y="2862753"/>
            <a:ext cx="5150069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4000" dirty="0" smtClean="0">
                <a:solidFill>
                  <a:srgbClr val="4E5A62"/>
                </a:solidFill>
                <a:latin typeface="+mj-ea"/>
                <a:ea typeface="+mj-ea"/>
              </a:rPr>
              <a:t>答案解析</a:t>
            </a:r>
            <a:endParaRPr lang="zh-CN" altLang="en-US" sz="4000" dirty="0" smtClean="0">
              <a:solidFill>
                <a:srgbClr val="4E5A62"/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6755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1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--Bedtime</a:t>
            </a:r>
            <a:endParaRPr lang="en-US" altLang="zh-CN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742161" y="753351"/>
            <a:ext cx="778816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Jimmy,Mary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,It's time for bed.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But I'm not sleepy.Can I watch more TV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？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sz="2000" dirty="0" smtClean="0">
                <a:solidFill>
                  <a:schemeClr val="accent3">
                    <a:lumMod val="50000"/>
                  </a:schemeClr>
                </a:solidFill>
              </a:rPr>
              <a:t>It's already past 11.You have to go to work tomorrow.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Yeah,I know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You must be sleepy all day tomorrow if you don't sleep well tonight.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Well,I guess so.Maybe I should go to sleep now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  <a:sym typeface="+mn-ea"/>
              </a:rPr>
              <a:t>An excellent idea.Have a nice dream.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Marr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Good night.See you in the morning.</a:t>
            </a:r>
            <a:endParaRPr lang="en-US" altLang="zh-CN" sz="20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297545" y="1529080"/>
            <a:ext cx="3124200" cy="282892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2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--At the bar</a:t>
            </a:r>
            <a:endParaRPr lang="en-US" altLang="zh-CN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96595" y="753110"/>
            <a:ext cx="7480935" cy="4939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顾客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Tom&amp;Lisa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his is a great bar.It's really </a:t>
            </a:r>
            <a:r>
              <a:rPr lang="en-US" altLang="zh-CN" sz="2000" dirty="0" smtClean="0">
                <a:solidFill>
                  <a:srgbClr val="FF0000"/>
                </a:solidFill>
              </a:rPr>
              <a:t>hopping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.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Yes,this was a great idea to come here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Where would you like to sit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？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By the window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Oh,</a:t>
            </a:r>
            <a:r>
              <a:rPr lang="en-US" altLang="zh-CN" sz="2000" b="1" dirty="0" smtClean="0">
                <a:solidFill>
                  <a:schemeClr val="accent3">
                    <a:lumMod val="50000"/>
                  </a:schemeClr>
                </a:solidFill>
                <a:latin typeface="Arial Bold" panose="020B0604020202090204" charset="0"/>
                <a:cs typeface="Arial Bold" panose="020B0604020202090204" charset="0"/>
              </a:rPr>
              <a:t>Great minds think alike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.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That's what I think too. 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Let's get something to drink first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.Wow,there are </a:t>
            </a:r>
            <a:r>
              <a:rPr lang="en-US" altLang="zh-CN" sz="2000" dirty="0" smtClean="0">
                <a:solidFill>
                  <a:srgbClr val="FF0000"/>
                </a:solidFill>
              </a:rPr>
              <a:t>various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 drinks.Which would you want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？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Uh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please give me a few minutes.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Certainl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，I'll call the waiter when you're sure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.</a:t>
            </a:r>
            <a:endParaRPr lang="en-US" altLang="zh-CN" sz="20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408670" y="1813560"/>
            <a:ext cx="2611755" cy="3496310"/>
          </a:xfrm>
          <a:prstGeom prst="rect">
            <a:avLst/>
          </a:prstGeom>
        </p:spPr>
      </p:pic>
      <p:sp>
        <p:nvSpPr>
          <p:cNvPr id="4" name="椭圆形标注 3"/>
          <p:cNvSpPr/>
          <p:nvPr/>
        </p:nvSpPr>
        <p:spPr>
          <a:xfrm>
            <a:off x="5394325" y="1254760"/>
            <a:ext cx="2907665" cy="558800"/>
          </a:xfrm>
          <a:prstGeom prst="wedgeEllipseCallout">
            <a:avLst>
              <a:gd name="adj1" fmla="val -38833"/>
              <a:gd name="adj2" fmla="val 84886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400">
                <a:solidFill>
                  <a:srgbClr val="FF0000"/>
                </a:solidFill>
              </a:rPr>
              <a:t>hopping  积极的，活跃的；忙碌的；</a:t>
            </a:r>
            <a:endParaRPr lang="en-US" altLang="zh-CN" sz="1400">
              <a:solidFill>
                <a:srgbClr val="FF0000"/>
              </a:solidFill>
            </a:endParaRPr>
          </a:p>
        </p:txBody>
      </p:sp>
      <p:sp>
        <p:nvSpPr>
          <p:cNvPr id="6" name="椭圆形标注 5"/>
          <p:cNvSpPr/>
          <p:nvPr/>
        </p:nvSpPr>
        <p:spPr>
          <a:xfrm>
            <a:off x="6286500" y="4620260"/>
            <a:ext cx="2122170" cy="689610"/>
          </a:xfrm>
          <a:prstGeom prst="wedgeEllipseCallout">
            <a:avLst>
              <a:gd name="adj1" fmla="val -9864"/>
              <a:gd name="adj2" fmla="val -78184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400">
                <a:solidFill>
                  <a:srgbClr val="FF0000"/>
                </a:solidFill>
              </a:rPr>
              <a:t>various  </a:t>
            </a:r>
            <a:r>
              <a:rPr lang="zh-CN" altLang="en-US" sz="1400">
                <a:solidFill>
                  <a:srgbClr val="FF0000"/>
                </a:solidFill>
              </a:rPr>
              <a:t>多种多样的</a:t>
            </a:r>
            <a:endParaRPr lang="zh-CN" altLang="en-US" sz="1400">
              <a:solidFill>
                <a:srgbClr val="FF000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ORIGLEFT" val="303.875"/>
  <p:tag name="ORIGTOP" val="139.125"/>
  <p:tag name="ORIGHEIGHT" val="22.25"/>
  <p:tag name="ORIGWIDTH" val="22.5"/>
</p:tagLst>
</file>

<file path=ppt/tags/tag4.xml><?xml version="1.0" encoding="utf-8"?>
<p:tagLst xmlns:p="http://schemas.openxmlformats.org/presentationml/2006/main">
  <p:tag name="ORIGLEFT" val="331.875"/>
  <p:tag name="ORIGTOP" val="139.125"/>
  <p:tag name="ORIGHEIGHT" val="22.25"/>
  <p:tag name="ORIGWIDTH" val="22.5"/>
</p:tagLst>
</file>

<file path=ppt/tags/tag5.xml><?xml version="1.0" encoding="utf-8"?>
<p:tagLst xmlns:p="http://schemas.openxmlformats.org/presentationml/2006/main">
  <p:tag name="ORIGLEFT" val="360"/>
  <p:tag name="ORIGTOP" val="139.125"/>
  <p:tag name="ORIGHEIGHT" val="22.25"/>
  <p:tag name="ORIGWIDTH" val="22.5"/>
</p:tagLst>
</file>

<file path=ppt/tags/tag6.xml><?xml version="1.0" encoding="utf-8"?>
<p:tagLst xmlns:p="http://schemas.openxmlformats.org/presentationml/2006/main">
  <p:tag name="ORIGLEFT" val="388.125"/>
  <p:tag name="ORIGTOP" val="139.125"/>
  <p:tag name="ORIGHEIGHT" val="22.25"/>
  <p:tag name="ORIGWIDTH" val="22.5"/>
</p:tagLst>
</file>

<file path=ppt/theme/theme1.xml><?xml version="1.0" encoding="utf-8"?>
<a:theme xmlns:a="http://schemas.openxmlformats.org/drawingml/2006/main" name="Office 主题​​">
  <a:themeElements>
    <a:clrScheme name="Office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0069BF"/>
      </a:accent1>
      <a:accent2>
        <a:srgbClr val="B0CB1D"/>
      </a:accent2>
      <a:accent3>
        <a:srgbClr val="7752C4"/>
      </a:accent3>
      <a:accent4>
        <a:srgbClr val="034D95"/>
      </a:accent4>
      <a:accent5>
        <a:srgbClr val="3F859B"/>
      </a:accent5>
      <a:accent6>
        <a:srgbClr val="D81728"/>
      </a:accent6>
      <a:hlink>
        <a:srgbClr val="4472C4"/>
      </a:hlink>
      <a:folHlink>
        <a:srgbClr val="BFBFBF"/>
      </a:folHlink>
    </a:clrScheme>
    <a:fontScheme name="自定义 3">
      <a:majorFont>
        <a:latin typeface="Arial Black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lumMod val="40000"/>
            <a:lumOff val="60000"/>
          </a:schemeClr>
        </a:solidFill>
      </a:spPr>
      <a:bodyPr rtlCol="0" anchor="ctr"/>
      <a:lstStyle>
        <a:defPPr algn="ctr">
          <a:defRPr lang="zh-CN" altLang="en-US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18</Words>
  <Application>WPS 演示</Application>
  <PresentationFormat>宽屏</PresentationFormat>
  <Paragraphs>185</Paragraphs>
  <Slides>1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2</vt:i4>
      </vt:variant>
    </vt:vector>
  </HeadingPairs>
  <TitlesOfParts>
    <vt:vector size="29" baseType="lpstr">
      <vt:lpstr>Arial</vt:lpstr>
      <vt:lpstr>方正书宋_GBK</vt:lpstr>
      <vt:lpstr>Wingdings</vt:lpstr>
      <vt:lpstr>微软雅黑</vt:lpstr>
      <vt:lpstr>Lato Light</vt:lpstr>
      <vt:lpstr>Arial Bold</vt:lpstr>
      <vt:lpstr>汉仪旗黑</vt:lpstr>
      <vt:lpstr>宋体</vt:lpstr>
      <vt:lpstr>Arial Unicode MS</vt:lpstr>
      <vt:lpstr>Thonburi</vt:lpstr>
      <vt:lpstr>汉仪书宋二KW</vt:lpstr>
      <vt:lpstr>等线</vt:lpstr>
      <vt:lpstr>汉仪中等线KW</vt:lpstr>
      <vt:lpstr>微软雅黑</vt:lpstr>
      <vt:lpstr>Office 主题​​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Zhou Winnie</dc:creator>
  <cp:lastModifiedBy>impzhang</cp:lastModifiedBy>
  <cp:revision>75</cp:revision>
  <dcterms:created xsi:type="dcterms:W3CDTF">2020-12-28T08:40:51Z</dcterms:created>
  <dcterms:modified xsi:type="dcterms:W3CDTF">2020-12-28T08:40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2.6.1.4274</vt:lpwstr>
  </property>
</Properties>
</file>